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909" r:id="rId1"/>
    <p:sldMasterId id="2147483665" r:id="rId2"/>
  </p:sldMasterIdLst>
  <p:notesMasterIdLst>
    <p:notesMasterId r:id="rId25"/>
  </p:notesMasterIdLst>
  <p:handoutMasterIdLst>
    <p:handoutMasterId r:id="rId26"/>
  </p:handoutMasterIdLst>
  <p:sldIdLst>
    <p:sldId id="288" r:id="rId3"/>
    <p:sldId id="455" r:id="rId4"/>
    <p:sldId id="456" r:id="rId5"/>
    <p:sldId id="458" r:id="rId6"/>
    <p:sldId id="437" r:id="rId7"/>
    <p:sldId id="459" r:id="rId8"/>
    <p:sldId id="461" r:id="rId9"/>
    <p:sldId id="460" r:id="rId10"/>
    <p:sldId id="439" r:id="rId11"/>
    <p:sldId id="453" r:id="rId12"/>
    <p:sldId id="441" r:id="rId13"/>
    <p:sldId id="469" r:id="rId14"/>
    <p:sldId id="463" r:id="rId15"/>
    <p:sldId id="457" r:id="rId16"/>
    <p:sldId id="466" r:id="rId17"/>
    <p:sldId id="465" r:id="rId18"/>
    <p:sldId id="464" r:id="rId19"/>
    <p:sldId id="442" r:id="rId20"/>
    <p:sldId id="462" r:id="rId21"/>
    <p:sldId id="467" r:id="rId22"/>
    <p:sldId id="443" r:id="rId23"/>
    <p:sldId id="448" r:id="rId24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CC520"/>
    <a:srgbClr val="A8D02A"/>
    <a:srgbClr val="1D4C7C"/>
    <a:srgbClr val="94C949"/>
    <a:srgbClr val="ED7D31"/>
    <a:srgbClr val="3397D3"/>
    <a:srgbClr val="ED5326"/>
    <a:srgbClr val="E7B921"/>
    <a:srgbClr val="5CB1FE"/>
    <a:srgbClr val="8E49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中度样式 4 - 强调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2833802-FEF1-4C79-8D5D-14CF1EAF98D9}" styleName="浅色样式 2 - 强调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16DA210-FB5B-4158-B5E0-FEB733F419BA}" styleName="浅色样式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浅色样式 3 - 强调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D083AE6-46FA-4A59-8FB0-9F97EB10719F}" styleName="浅色样式 3 - 强调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81" autoAdjust="0"/>
    <p:restoredTop sz="99878" autoAdjust="0"/>
  </p:normalViewPr>
  <p:slideViewPr>
    <p:cSldViewPr>
      <p:cViewPr varScale="1">
        <p:scale>
          <a:sx n="109" d="100"/>
          <a:sy n="109" d="100"/>
        </p:scale>
        <p:origin x="870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3" d="100"/>
          <a:sy n="83" d="100"/>
        </p:scale>
        <p:origin x="-3192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448087431693992E-2"/>
          <c:y val="3.1948881789137379E-3"/>
          <c:w val="0.91256830601092898"/>
          <c:h val="0.884984025559105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ataset 1</c:v>
                </c:pt>
              </c:strCache>
            </c:strRef>
          </c:tx>
          <c:spPr>
            <a:solidFill>
              <a:schemeClr val="accent1"/>
            </a:solidFill>
            <a:ln w="22427">
              <a:noFill/>
            </a:ln>
          </c:spPr>
          <c:invertIfNegative val="0"/>
          <c:dLbls>
            <c:dLbl>
              <c:idx val="2"/>
              <c:numFmt formatCode="General" sourceLinked="0"/>
              <c:spPr>
                <a:ln w="22427">
                  <a:noFill/>
                </a:ln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06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zh-CN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General" sourceLinked="0"/>
            <c:spPr>
              <a:noFill/>
              <a:ln w="2242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6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5"/>
                <c:pt idx="4">
                  <c:v>Highest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4</c:v>
                </c:pt>
                <c:pt idx="1">
                  <c:v>1</c:v>
                </c:pt>
                <c:pt idx="2">
                  <c:v>2</c:v>
                </c:pt>
                <c:pt idx="3">
                  <c:v>9</c:v>
                </c:pt>
                <c:pt idx="4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79912048"/>
        <c:axId val="336664464"/>
      </c:barChart>
      <c:catAx>
        <c:axId val="27991204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one"/>
        <c:spPr>
          <a:ln w="2803">
            <a:solidFill>
              <a:schemeClr val="tx1"/>
            </a:solidFill>
            <a:prstDash val="solid"/>
          </a:ln>
        </c:spPr>
        <c:crossAx val="336664464"/>
        <c:crosses val="autoZero"/>
        <c:auto val="0"/>
        <c:lblAlgn val="ctr"/>
        <c:lblOffset val="100"/>
        <c:tickMarkSkip val="1"/>
        <c:noMultiLvlLbl val="0"/>
      </c:catAx>
      <c:valAx>
        <c:axId val="336664464"/>
        <c:scaling>
          <c:orientation val="maxMin"/>
          <c:max val="21"/>
          <c:min val="0"/>
        </c:scaling>
        <c:delete val="0"/>
        <c:axPos val="b"/>
        <c:numFmt formatCode="0" sourceLinked="0"/>
        <c:majorTickMark val="out"/>
        <c:minorTickMark val="none"/>
        <c:tickLblPos val="nextTo"/>
        <c:spPr>
          <a:ln w="28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6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279912048"/>
        <c:crosses val="autoZero"/>
        <c:crossBetween val="between"/>
      </c:valAx>
      <c:spPr>
        <a:noFill/>
        <a:ln w="2242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56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109289617486336E-2"/>
          <c:y val="3.1948881789137379E-3"/>
          <c:w val="0.88524590163934425"/>
          <c:h val="0.8849840255591053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Dataset 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 w="20275"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58" b="1" i="0" u="none" strike="noStrike" kern="1200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zh-C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G$1</c:f>
              <c:strCache>
                <c:ptCount val="6"/>
                <c:pt idx="0">
                  <c:v>Lowest</c:v>
                </c:pt>
                <c:pt idx="5">
                  <c:v>Highest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10</c:v>
                </c:pt>
                <c:pt idx="1">
                  <c:v>3</c:v>
                </c:pt>
                <c:pt idx="2">
                  <c:v>11</c:v>
                </c:pt>
                <c:pt idx="3">
                  <c:v>21</c:v>
                </c:pt>
                <c:pt idx="4">
                  <c:v>1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36666704"/>
        <c:axId val="336667264"/>
      </c:barChart>
      <c:catAx>
        <c:axId val="3366667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 w="2534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17" b="1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336667264"/>
        <c:crosses val="autoZero"/>
        <c:auto val="0"/>
        <c:lblAlgn val="ctr"/>
        <c:lblOffset val="100"/>
        <c:tickMarkSkip val="1"/>
        <c:noMultiLvlLbl val="0"/>
      </c:catAx>
      <c:valAx>
        <c:axId val="336667264"/>
        <c:scaling>
          <c:orientation val="minMax"/>
          <c:max val="21"/>
          <c:min val="0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2534" cap="flat" cmpd="sng" algn="ctr">
            <a:solidFill>
              <a:schemeClr val="tx1"/>
            </a:solidFill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58" b="0" i="0" u="none" strike="noStrike" kern="1200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zh-CN"/>
          </a:p>
        </c:txPr>
        <c:crossAx val="336666704"/>
        <c:crosses val="autoZero"/>
        <c:crossBetween val="between"/>
      </c:valAx>
      <c:spPr>
        <a:noFill/>
        <a:ln w="20275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417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D46F7D5-6A2F-4A20-BD5C-3BDEA904697B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73ED3465-8646-463C-8523-15526DF7BEBB}">
      <dgm:prSet phldrT="[文本]" custT="1"/>
      <dgm:spPr/>
      <dgm:t>
        <a:bodyPr/>
        <a:lstStyle/>
        <a:p>
          <a:r>
            <a:rPr lang="en-US" altLang="zh-CN" sz="1800" dirty="0" smtClean="0"/>
            <a:t>8</a:t>
          </a:r>
          <a:r>
            <a:rPr lang="zh-CN" altLang="en-US" sz="1800" dirty="0" smtClean="0"/>
            <a:t>月底</a:t>
          </a:r>
          <a:endParaRPr lang="zh-CN" altLang="en-US" sz="1800" dirty="0"/>
        </a:p>
      </dgm:t>
    </dgm:pt>
    <dgm:pt modelId="{6B797E68-8426-4F6E-AD99-D4801308791F}" type="parTrans" cxnId="{E7149EC5-0E2B-4232-94A0-D1B1B5A39465}">
      <dgm:prSet/>
      <dgm:spPr/>
      <dgm:t>
        <a:bodyPr/>
        <a:lstStyle/>
        <a:p>
          <a:endParaRPr lang="zh-CN" altLang="en-US"/>
        </a:p>
      </dgm:t>
    </dgm:pt>
    <dgm:pt modelId="{11B4B137-E377-4EFB-B916-E1527DB69015}" type="sibTrans" cxnId="{E7149EC5-0E2B-4232-94A0-D1B1B5A39465}">
      <dgm:prSet/>
      <dgm:spPr/>
      <dgm:t>
        <a:bodyPr/>
        <a:lstStyle/>
        <a:p>
          <a:endParaRPr lang="zh-CN" altLang="en-US"/>
        </a:p>
      </dgm:t>
    </dgm:pt>
    <dgm:pt modelId="{B88D0A74-5963-4711-8E2E-148F13CD1559}">
      <dgm:prSet phldrT="[文本]"/>
      <dgm:spPr/>
      <dgm:t>
        <a:bodyPr/>
        <a:lstStyle/>
        <a:p>
          <a:r>
            <a:rPr lang="zh-CN" altLang="en-US" dirty="0" smtClean="0"/>
            <a:t>暑期更换</a:t>
          </a:r>
          <a:r>
            <a:rPr lang="en-US" altLang="zh-CN" dirty="0" smtClean="0"/>
            <a:t>16</a:t>
          </a:r>
          <a:r>
            <a:rPr lang="zh-CN" altLang="en-US" dirty="0" smtClean="0"/>
            <a:t>号位漏水的直波导</a:t>
          </a:r>
          <a:endParaRPr lang="zh-CN" altLang="en-US" dirty="0"/>
        </a:p>
      </dgm:t>
    </dgm:pt>
    <dgm:pt modelId="{4B4F882C-B28F-4FE0-8131-43D738A906D4}" type="parTrans" cxnId="{83EEBA5C-25DF-4E45-87F3-78F5D527E30F}">
      <dgm:prSet/>
      <dgm:spPr/>
      <dgm:t>
        <a:bodyPr/>
        <a:lstStyle/>
        <a:p>
          <a:endParaRPr lang="zh-CN" altLang="en-US"/>
        </a:p>
      </dgm:t>
    </dgm:pt>
    <dgm:pt modelId="{D2E25FE7-0F43-4893-8D28-25F9FF24627D}" type="sibTrans" cxnId="{83EEBA5C-25DF-4E45-87F3-78F5D527E30F}">
      <dgm:prSet/>
      <dgm:spPr/>
      <dgm:t>
        <a:bodyPr/>
        <a:lstStyle/>
        <a:p>
          <a:endParaRPr lang="zh-CN" altLang="en-US"/>
        </a:p>
      </dgm:t>
    </dgm:pt>
    <dgm:pt modelId="{32E1A2FF-09B9-47B2-92A2-A43E2EFED51A}">
      <dgm:prSet phldrT="[文本]" custT="1"/>
      <dgm:spPr/>
      <dgm:t>
        <a:bodyPr/>
        <a:lstStyle/>
        <a:p>
          <a:r>
            <a:rPr lang="en-US" altLang="zh-CN" sz="1800" dirty="0" smtClean="0"/>
            <a:t>9</a:t>
          </a:r>
          <a:r>
            <a:rPr lang="zh-CN" altLang="en-US" sz="1800" dirty="0" smtClean="0"/>
            <a:t>月中</a:t>
          </a:r>
          <a:endParaRPr lang="zh-CN" altLang="en-US" sz="1800" dirty="0"/>
        </a:p>
      </dgm:t>
    </dgm:pt>
    <dgm:pt modelId="{F055B741-0E2E-4802-815E-F6ED6A0F6B53}" type="parTrans" cxnId="{F45190A7-10B9-4CF5-9728-81CC34619568}">
      <dgm:prSet/>
      <dgm:spPr/>
      <dgm:t>
        <a:bodyPr/>
        <a:lstStyle/>
        <a:p>
          <a:endParaRPr lang="zh-CN" altLang="en-US"/>
        </a:p>
      </dgm:t>
    </dgm:pt>
    <dgm:pt modelId="{B8C9499B-3FD3-4D9D-A472-AC7B9B643E0E}" type="sibTrans" cxnId="{F45190A7-10B9-4CF5-9728-81CC34619568}">
      <dgm:prSet/>
      <dgm:spPr/>
      <dgm:t>
        <a:bodyPr/>
        <a:lstStyle/>
        <a:p>
          <a:endParaRPr lang="zh-CN" altLang="en-US"/>
        </a:p>
      </dgm:t>
    </dgm:pt>
    <dgm:pt modelId="{A4304EF9-C6F5-475C-B81F-9DF0994AA270}">
      <dgm:prSet phldrT="[文本]"/>
      <dgm:spPr/>
      <dgm:t>
        <a:bodyPr/>
        <a:lstStyle/>
        <a:p>
          <a:r>
            <a:rPr lang="zh-CN" altLang="en-US" dirty="0" smtClean="0"/>
            <a:t>无功率贡献</a:t>
          </a:r>
          <a:endParaRPr lang="zh-CN" altLang="en-US" dirty="0"/>
        </a:p>
      </dgm:t>
    </dgm:pt>
    <dgm:pt modelId="{D481F5EC-AF79-4C77-BE9A-13E5E7B77AA6}" type="parTrans" cxnId="{35380328-56AE-4E30-AC67-2DEEA6985088}">
      <dgm:prSet/>
      <dgm:spPr/>
      <dgm:t>
        <a:bodyPr/>
        <a:lstStyle/>
        <a:p>
          <a:endParaRPr lang="zh-CN" altLang="en-US"/>
        </a:p>
      </dgm:t>
    </dgm:pt>
    <dgm:pt modelId="{1FF65EF3-18F1-42BF-ABF2-E513A6012897}" type="sibTrans" cxnId="{35380328-56AE-4E30-AC67-2DEEA6985088}">
      <dgm:prSet/>
      <dgm:spPr/>
      <dgm:t>
        <a:bodyPr/>
        <a:lstStyle/>
        <a:p>
          <a:endParaRPr lang="zh-CN" altLang="en-US"/>
        </a:p>
      </dgm:t>
    </dgm:pt>
    <dgm:pt modelId="{863E7E43-92B9-4B39-9284-AC53B3081D66}">
      <dgm:prSet phldrT="[文本]"/>
      <dgm:spPr/>
      <dgm:t>
        <a:bodyPr/>
        <a:lstStyle/>
        <a:p>
          <a:r>
            <a:rPr lang="zh-CN" altLang="en-US" dirty="0" smtClean="0"/>
            <a:t>挤压波导壁，挤压调配波导相长度</a:t>
          </a:r>
          <a:endParaRPr lang="zh-CN" altLang="en-US" dirty="0"/>
        </a:p>
      </dgm:t>
    </dgm:pt>
    <dgm:pt modelId="{FA29A897-C6F4-4CCE-92F4-4AD5D749E98D}" type="parTrans" cxnId="{D749620F-7BE1-4C12-9218-D34720283158}">
      <dgm:prSet/>
      <dgm:spPr/>
      <dgm:t>
        <a:bodyPr/>
        <a:lstStyle/>
        <a:p>
          <a:endParaRPr lang="zh-CN" altLang="en-US"/>
        </a:p>
      </dgm:t>
    </dgm:pt>
    <dgm:pt modelId="{ED61D120-192A-4028-8674-367B18BC1DED}" type="sibTrans" cxnId="{D749620F-7BE1-4C12-9218-D34720283158}">
      <dgm:prSet/>
      <dgm:spPr/>
      <dgm:t>
        <a:bodyPr/>
        <a:lstStyle/>
        <a:p>
          <a:endParaRPr lang="zh-CN" altLang="en-US"/>
        </a:p>
      </dgm:t>
    </dgm:pt>
    <dgm:pt modelId="{3B8EF20F-82C2-4E39-B5A8-B26FFC06BFB7}">
      <dgm:prSet phldrT="[文本]"/>
      <dgm:spPr/>
      <dgm:t>
        <a:bodyPr/>
        <a:lstStyle/>
        <a:p>
          <a:r>
            <a:rPr lang="en-US" altLang="zh-CN" dirty="0" smtClean="0"/>
            <a:t>10.31</a:t>
          </a:r>
          <a:endParaRPr lang="zh-CN" altLang="en-US" dirty="0"/>
        </a:p>
      </dgm:t>
    </dgm:pt>
    <dgm:pt modelId="{CB7BB9EE-452C-4996-9E8F-756CFBBE5D28}" type="parTrans" cxnId="{69CFC5E1-C0DD-4F83-85A6-A35F65B843C9}">
      <dgm:prSet/>
      <dgm:spPr/>
      <dgm:t>
        <a:bodyPr/>
        <a:lstStyle/>
        <a:p>
          <a:endParaRPr lang="zh-CN" altLang="en-US"/>
        </a:p>
      </dgm:t>
    </dgm:pt>
    <dgm:pt modelId="{33DD8701-9DC3-4F3D-A076-868B9966EC42}" type="sibTrans" cxnId="{69CFC5E1-C0DD-4F83-85A6-A35F65B843C9}">
      <dgm:prSet/>
      <dgm:spPr/>
      <dgm:t>
        <a:bodyPr/>
        <a:lstStyle/>
        <a:p>
          <a:endParaRPr lang="zh-CN" altLang="en-US"/>
        </a:p>
      </dgm:t>
    </dgm:pt>
    <dgm:pt modelId="{77AEECE0-B022-4FE6-93DB-0E6ADA43BE75}">
      <dgm:prSet phldrT="[文本]"/>
      <dgm:spPr/>
      <dgm:t>
        <a:bodyPr/>
        <a:lstStyle/>
        <a:p>
          <a:r>
            <a:rPr lang="zh-CN" altLang="en-US" dirty="0" smtClean="0"/>
            <a:t>＞</a:t>
          </a:r>
          <a:r>
            <a:rPr lang="en-US" altLang="zh-CN" dirty="0" smtClean="0"/>
            <a:t>16KV</a:t>
          </a:r>
          <a:r>
            <a:rPr lang="zh-CN" altLang="en-US" dirty="0" smtClean="0"/>
            <a:t>时真空保护频繁</a:t>
          </a:r>
          <a:endParaRPr lang="zh-CN" altLang="en-US" dirty="0"/>
        </a:p>
      </dgm:t>
    </dgm:pt>
    <dgm:pt modelId="{F7C8B032-7CBE-43F8-86A7-0947993AB01E}" type="parTrans" cxnId="{12110235-70B7-4AB1-9330-902A30CB2B37}">
      <dgm:prSet/>
      <dgm:spPr/>
      <dgm:t>
        <a:bodyPr/>
        <a:lstStyle/>
        <a:p>
          <a:endParaRPr lang="zh-CN" altLang="en-US"/>
        </a:p>
      </dgm:t>
    </dgm:pt>
    <dgm:pt modelId="{11FB427C-996F-440E-88B8-A2057735CE9B}" type="sibTrans" cxnId="{12110235-70B7-4AB1-9330-902A30CB2B37}">
      <dgm:prSet/>
      <dgm:spPr/>
      <dgm:t>
        <a:bodyPr/>
        <a:lstStyle/>
        <a:p>
          <a:endParaRPr lang="zh-CN" altLang="en-US"/>
        </a:p>
      </dgm:t>
    </dgm:pt>
    <dgm:pt modelId="{9FD3594F-2165-4867-8795-5B3938A4F5AD}">
      <dgm:prSet phldrT="[文本]"/>
      <dgm:spPr/>
      <dgm:t>
        <a:bodyPr/>
        <a:lstStyle/>
        <a:p>
          <a:r>
            <a:rPr lang="zh-CN" altLang="en-US" dirty="0" smtClean="0"/>
            <a:t>搭建波形监测平台，侯汨等</a:t>
          </a:r>
          <a:endParaRPr lang="zh-CN" altLang="en-US" dirty="0"/>
        </a:p>
      </dgm:t>
    </dgm:pt>
    <dgm:pt modelId="{D5AFF5C4-0567-4E6E-8367-E5F2383F7264}" type="parTrans" cxnId="{543BED68-36EC-4500-ABDB-E7B54B2F71BB}">
      <dgm:prSet/>
      <dgm:spPr/>
      <dgm:t>
        <a:bodyPr/>
        <a:lstStyle/>
        <a:p>
          <a:endParaRPr lang="zh-CN" altLang="en-US"/>
        </a:p>
      </dgm:t>
    </dgm:pt>
    <dgm:pt modelId="{DA72613A-CA8C-4E19-B6DA-8D005DDF7AA3}" type="sibTrans" cxnId="{543BED68-36EC-4500-ABDB-E7B54B2F71BB}">
      <dgm:prSet/>
      <dgm:spPr/>
      <dgm:t>
        <a:bodyPr/>
        <a:lstStyle/>
        <a:p>
          <a:endParaRPr lang="zh-CN" altLang="en-US"/>
        </a:p>
      </dgm:t>
    </dgm:pt>
    <dgm:pt modelId="{054FF2C4-87BB-4C5F-AE19-F52842D29E79}" type="pres">
      <dgm:prSet presAssocID="{ED46F7D5-6A2F-4A20-BD5C-3BDEA904697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2B0E1F11-E531-4C6A-B948-7540FBAD923A}" type="pres">
      <dgm:prSet presAssocID="{73ED3465-8646-463C-8523-15526DF7BEBB}" presName="composite" presStyleCnt="0"/>
      <dgm:spPr/>
    </dgm:pt>
    <dgm:pt modelId="{4562F64B-8E58-4FB7-95DA-88B812DE1F16}" type="pres">
      <dgm:prSet presAssocID="{73ED3465-8646-463C-8523-15526DF7BEBB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48CC352-86D5-4E59-978E-C29AED11C651}" type="pres">
      <dgm:prSet presAssocID="{73ED3465-8646-463C-8523-15526DF7BEBB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7C5631-07B4-4244-8098-525E46F3033E}" type="pres">
      <dgm:prSet presAssocID="{11B4B137-E377-4EFB-B916-E1527DB69015}" presName="sp" presStyleCnt="0"/>
      <dgm:spPr/>
    </dgm:pt>
    <dgm:pt modelId="{82F88144-A82A-475E-9CB2-8FB88ED91504}" type="pres">
      <dgm:prSet presAssocID="{32E1A2FF-09B9-47B2-92A2-A43E2EFED51A}" presName="composite" presStyleCnt="0"/>
      <dgm:spPr/>
    </dgm:pt>
    <dgm:pt modelId="{86A47C52-867C-44BD-BEDC-63E684007873}" type="pres">
      <dgm:prSet presAssocID="{32E1A2FF-09B9-47B2-92A2-A43E2EFED51A}" presName="parentText" presStyleLbl="alignNode1" presStyleIdx="1" presStyleCnt="3" custLinFactNeighborY="-4978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2E685266-B30A-4EC9-8368-3A1E001DE078}" type="pres">
      <dgm:prSet presAssocID="{32E1A2FF-09B9-47B2-92A2-A43E2EFED51A}" presName="descendantText" presStyleLbl="alignAcc1" presStyleIdx="1" presStyleCnt="3" custLinFactNeighborY="-7659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F16D2AC-8852-4379-846E-A9B4033A864E}" type="pres">
      <dgm:prSet presAssocID="{B8C9499B-3FD3-4D9D-A472-AC7B9B643E0E}" presName="sp" presStyleCnt="0"/>
      <dgm:spPr/>
    </dgm:pt>
    <dgm:pt modelId="{A34F1840-34A0-4FD3-8F4A-B9C373D9856E}" type="pres">
      <dgm:prSet presAssocID="{3B8EF20F-82C2-4E39-B5A8-B26FFC06BFB7}" presName="composite" presStyleCnt="0"/>
      <dgm:spPr/>
    </dgm:pt>
    <dgm:pt modelId="{28DF55BD-9C68-46A7-82F6-968D463DD24C}" type="pres">
      <dgm:prSet presAssocID="{3B8EF20F-82C2-4E39-B5A8-B26FFC06BFB7}" presName="parentText" presStyleLbl="alignNode1" presStyleIdx="2" presStyleCnt="3" custLinFactNeighborY="-9806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F627478-7810-4EAD-9BED-861548AB0783}" type="pres">
      <dgm:prSet presAssocID="{3B8EF20F-82C2-4E39-B5A8-B26FFC06BFB7}" presName="descendantText" presStyleLbl="alignAcc1" presStyleIdx="2" presStyleCnt="3" custLinFactNeighborY="-1508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1BBF1AC1-F52E-44DE-91C6-2663CC892037}" type="presOf" srcId="{32E1A2FF-09B9-47B2-92A2-A43E2EFED51A}" destId="{86A47C52-867C-44BD-BEDC-63E684007873}" srcOrd="0" destOrd="0" presId="urn:microsoft.com/office/officeart/2005/8/layout/chevron2"/>
    <dgm:cxn modelId="{E7149EC5-0E2B-4232-94A0-D1B1B5A39465}" srcId="{ED46F7D5-6A2F-4A20-BD5C-3BDEA904697B}" destId="{73ED3465-8646-463C-8523-15526DF7BEBB}" srcOrd="0" destOrd="0" parTransId="{6B797E68-8426-4F6E-AD99-D4801308791F}" sibTransId="{11B4B137-E377-4EFB-B916-E1527DB69015}"/>
    <dgm:cxn modelId="{35380328-56AE-4E30-AC67-2DEEA6985088}" srcId="{32E1A2FF-09B9-47B2-92A2-A43E2EFED51A}" destId="{A4304EF9-C6F5-475C-B81F-9DF0994AA270}" srcOrd="0" destOrd="0" parTransId="{D481F5EC-AF79-4C77-BE9A-13E5E7B77AA6}" sibTransId="{1FF65EF3-18F1-42BF-ABF2-E513A6012897}"/>
    <dgm:cxn modelId="{B05EE045-6932-4181-948F-90DC32FC4986}" type="presOf" srcId="{73ED3465-8646-463C-8523-15526DF7BEBB}" destId="{4562F64B-8E58-4FB7-95DA-88B812DE1F16}" srcOrd="0" destOrd="0" presId="urn:microsoft.com/office/officeart/2005/8/layout/chevron2"/>
    <dgm:cxn modelId="{FDBE0C5F-538A-4B00-BE8C-218BC6E4540F}" type="presOf" srcId="{A4304EF9-C6F5-475C-B81F-9DF0994AA270}" destId="{2E685266-B30A-4EC9-8368-3A1E001DE078}" srcOrd="0" destOrd="0" presId="urn:microsoft.com/office/officeart/2005/8/layout/chevron2"/>
    <dgm:cxn modelId="{83EEBA5C-25DF-4E45-87F3-78F5D527E30F}" srcId="{73ED3465-8646-463C-8523-15526DF7BEBB}" destId="{B88D0A74-5963-4711-8E2E-148F13CD1559}" srcOrd="0" destOrd="0" parTransId="{4B4F882C-B28F-4FE0-8131-43D738A906D4}" sibTransId="{D2E25FE7-0F43-4893-8D28-25F9FF24627D}"/>
    <dgm:cxn modelId="{543BED68-36EC-4500-ABDB-E7B54B2F71BB}" srcId="{3B8EF20F-82C2-4E39-B5A8-B26FFC06BFB7}" destId="{9FD3594F-2165-4867-8795-5B3938A4F5AD}" srcOrd="1" destOrd="0" parTransId="{D5AFF5C4-0567-4E6E-8367-E5F2383F7264}" sibTransId="{DA72613A-CA8C-4E19-B6DA-8D005DDF7AA3}"/>
    <dgm:cxn modelId="{F45190A7-10B9-4CF5-9728-81CC34619568}" srcId="{ED46F7D5-6A2F-4A20-BD5C-3BDEA904697B}" destId="{32E1A2FF-09B9-47B2-92A2-A43E2EFED51A}" srcOrd="1" destOrd="0" parTransId="{F055B741-0E2E-4802-815E-F6ED6A0F6B53}" sibTransId="{B8C9499B-3FD3-4D9D-A472-AC7B9B643E0E}"/>
    <dgm:cxn modelId="{12110235-70B7-4AB1-9330-902A30CB2B37}" srcId="{3B8EF20F-82C2-4E39-B5A8-B26FFC06BFB7}" destId="{77AEECE0-B022-4FE6-93DB-0E6ADA43BE75}" srcOrd="0" destOrd="0" parTransId="{F7C8B032-7CBE-43F8-86A7-0947993AB01E}" sibTransId="{11FB427C-996F-440E-88B8-A2057735CE9B}"/>
    <dgm:cxn modelId="{D749620F-7BE1-4C12-9218-D34720283158}" srcId="{32E1A2FF-09B9-47B2-92A2-A43E2EFED51A}" destId="{863E7E43-92B9-4B39-9284-AC53B3081D66}" srcOrd="1" destOrd="0" parTransId="{FA29A897-C6F4-4CCE-92F4-4AD5D749E98D}" sibTransId="{ED61D120-192A-4028-8674-367B18BC1DED}"/>
    <dgm:cxn modelId="{D7896747-A235-4821-B26D-EE59DEF2F404}" type="presOf" srcId="{B88D0A74-5963-4711-8E2E-148F13CD1559}" destId="{748CC352-86D5-4E59-978E-C29AED11C651}" srcOrd="0" destOrd="0" presId="urn:microsoft.com/office/officeart/2005/8/layout/chevron2"/>
    <dgm:cxn modelId="{F4348363-222F-484C-80B9-320E9E511C5E}" type="presOf" srcId="{77AEECE0-B022-4FE6-93DB-0E6ADA43BE75}" destId="{EF627478-7810-4EAD-9BED-861548AB0783}" srcOrd="0" destOrd="0" presId="urn:microsoft.com/office/officeart/2005/8/layout/chevron2"/>
    <dgm:cxn modelId="{BEF0139C-2547-4241-9F4A-E888ACCF668D}" type="presOf" srcId="{9FD3594F-2165-4867-8795-5B3938A4F5AD}" destId="{EF627478-7810-4EAD-9BED-861548AB0783}" srcOrd="0" destOrd="1" presId="urn:microsoft.com/office/officeart/2005/8/layout/chevron2"/>
    <dgm:cxn modelId="{E9E930C9-1B0E-44E3-B9F6-3F44B4FBE358}" type="presOf" srcId="{ED46F7D5-6A2F-4A20-BD5C-3BDEA904697B}" destId="{054FF2C4-87BB-4C5F-AE19-F52842D29E79}" srcOrd="0" destOrd="0" presId="urn:microsoft.com/office/officeart/2005/8/layout/chevron2"/>
    <dgm:cxn modelId="{69CFC5E1-C0DD-4F83-85A6-A35F65B843C9}" srcId="{ED46F7D5-6A2F-4A20-BD5C-3BDEA904697B}" destId="{3B8EF20F-82C2-4E39-B5A8-B26FFC06BFB7}" srcOrd="2" destOrd="0" parTransId="{CB7BB9EE-452C-4996-9E8F-756CFBBE5D28}" sibTransId="{33DD8701-9DC3-4F3D-A076-868B9966EC42}"/>
    <dgm:cxn modelId="{C4FC2038-DD54-4B57-90DD-7F51752FD754}" type="presOf" srcId="{863E7E43-92B9-4B39-9284-AC53B3081D66}" destId="{2E685266-B30A-4EC9-8368-3A1E001DE078}" srcOrd="0" destOrd="1" presId="urn:microsoft.com/office/officeart/2005/8/layout/chevron2"/>
    <dgm:cxn modelId="{4BD9C01D-8D73-498C-AFC2-92B751CBBC6B}" type="presOf" srcId="{3B8EF20F-82C2-4E39-B5A8-B26FFC06BFB7}" destId="{28DF55BD-9C68-46A7-82F6-968D463DD24C}" srcOrd="0" destOrd="0" presId="urn:microsoft.com/office/officeart/2005/8/layout/chevron2"/>
    <dgm:cxn modelId="{7B4AB767-3311-4CA4-95B2-E4B47CFF9060}" type="presParOf" srcId="{054FF2C4-87BB-4C5F-AE19-F52842D29E79}" destId="{2B0E1F11-E531-4C6A-B948-7540FBAD923A}" srcOrd="0" destOrd="0" presId="urn:microsoft.com/office/officeart/2005/8/layout/chevron2"/>
    <dgm:cxn modelId="{D86C5EE5-8C2E-4046-953B-4533F6205794}" type="presParOf" srcId="{2B0E1F11-E531-4C6A-B948-7540FBAD923A}" destId="{4562F64B-8E58-4FB7-95DA-88B812DE1F16}" srcOrd="0" destOrd="0" presId="urn:microsoft.com/office/officeart/2005/8/layout/chevron2"/>
    <dgm:cxn modelId="{4915E7B4-4DD5-427B-B4FC-0B2F6C4136B2}" type="presParOf" srcId="{2B0E1F11-E531-4C6A-B948-7540FBAD923A}" destId="{748CC352-86D5-4E59-978E-C29AED11C651}" srcOrd="1" destOrd="0" presId="urn:microsoft.com/office/officeart/2005/8/layout/chevron2"/>
    <dgm:cxn modelId="{104E1C63-D53F-4A5F-9F31-0C037E8CA73D}" type="presParOf" srcId="{054FF2C4-87BB-4C5F-AE19-F52842D29E79}" destId="{717C5631-07B4-4244-8098-525E46F3033E}" srcOrd="1" destOrd="0" presId="urn:microsoft.com/office/officeart/2005/8/layout/chevron2"/>
    <dgm:cxn modelId="{CC415E43-B81C-4135-8F74-2FEDDB985798}" type="presParOf" srcId="{054FF2C4-87BB-4C5F-AE19-F52842D29E79}" destId="{82F88144-A82A-475E-9CB2-8FB88ED91504}" srcOrd="2" destOrd="0" presId="urn:microsoft.com/office/officeart/2005/8/layout/chevron2"/>
    <dgm:cxn modelId="{E0AA64D2-2C2A-4A75-87A8-721649261556}" type="presParOf" srcId="{82F88144-A82A-475E-9CB2-8FB88ED91504}" destId="{86A47C52-867C-44BD-BEDC-63E684007873}" srcOrd="0" destOrd="0" presId="urn:microsoft.com/office/officeart/2005/8/layout/chevron2"/>
    <dgm:cxn modelId="{E3DAB6CD-00FF-4F25-8826-48060A11AB11}" type="presParOf" srcId="{82F88144-A82A-475E-9CB2-8FB88ED91504}" destId="{2E685266-B30A-4EC9-8368-3A1E001DE078}" srcOrd="1" destOrd="0" presId="urn:microsoft.com/office/officeart/2005/8/layout/chevron2"/>
    <dgm:cxn modelId="{FA9D6A04-5B56-4190-BA92-DBB9DFE8205C}" type="presParOf" srcId="{054FF2C4-87BB-4C5F-AE19-F52842D29E79}" destId="{1F16D2AC-8852-4379-846E-A9B4033A864E}" srcOrd="3" destOrd="0" presId="urn:microsoft.com/office/officeart/2005/8/layout/chevron2"/>
    <dgm:cxn modelId="{CBC4BF85-997F-45BF-9031-DCB7C8F6C188}" type="presParOf" srcId="{054FF2C4-87BB-4C5F-AE19-F52842D29E79}" destId="{A34F1840-34A0-4FD3-8F4A-B9C373D9856E}" srcOrd="4" destOrd="0" presId="urn:microsoft.com/office/officeart/2005/8/layout/chevron2"/>
    <dgm:cxn modelId="{04C7864B-E6D8-4370-AD2A-D238CE68DB9A}" type="presParOf" srcId="{A34F1840-34A0-4FD3-8F4A-B9C373D9856E}" destId="{28DF55BD-9C68-46A7-82F6-968D463DD24C}" srcOrd="0" destOrd="0" presId="urn:microsoft.com/office/officeart/2005/8/layout/chevron2"/>
    <dgm:cxn modelId="{222EAC73-BF04-4CDA-B0C9-D1233872BC37}" type="presParOf" srcId="{A34F1840-34A0-4FD3-8F4A-B9C373D9856E}" destId="{EF627478-7810-4EAD-9BED-861548AB0783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62F64B-8E58-4FB7-95DA-88B812DE1F16}">
      <dsp:nvSpPr>
        <dsp:cNvPr id="0" name=""/>
        <dsp:cNvSpPr/>
      </dsp:nvSpPr>
      <dsp:spPr>
        <a:xfrm rot="5400000">
          <a:off x="-157170" y="158743"/>
          <a:ext cx="1047803" cy="7334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8</a:t>
          </a:r>
          <a:r>
            <a:rPr lang="zh-CN" altLang="en-US" sz="1800" kern="1200" dirty="0" smtClean="0"/>
            <a:t>月底</a:t>
          </a:r>
          <a:endParaRPr lang="zh-CN" altLang="en-US" sz="1800" kern="1200" dirty="0"/>
        </a:p>
      </dsp:txBody>
      <dsp:txXfrm rot="-5400000">
        <a:off x="1" y="368303"/>
        <a:ext cx="733462" cy="314341"/>
      </dsp:txXfrm>
    </dsp:sp>
    <dsp:sp modelId="{748CC352-86D5-4E59-978E-C29AED11C651}">
      <dsp:nvSpPr>
        <dsp:cNvPr id="0" name=""/>
        <dsp:cNvSpPr/>
      </dsp:nvSpPr>
      <dsp:spPr>
        <a:xfrm rot="5400000">
          <a:off x="3338384" y="-2603348"/>
          <a:ext cx="681430" cy="58912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/>
            <a:t>暑期更换</a:t>
          </a:r>
          <a:r>
            <a:rPr lang="en-US" altLang="zh-CN" sz="1300" kern="1200" dirty="0" smtClean="0"/>
            <a:t>16</a:t>
          </a:r>
          <a:r>
            <a:rPr lang="zh-CN" altLang="en-US" sz="1300" kern="1200" dirty="0" smtClean="0"/>
            <a:t>号位漏水的直波导</a:t>
          </a:r>
          <a:endParaRPr lang="zh-CN" altLang="en-US" sz="1300" kern="1200" dirty="0"/>
        </a:p>
      </dsp:txBody>
      <dsp:txXfrm rot="-5400000">
        <a:off x="733463" y="34838"/>
        <a:ext cx="5858008" cy="614900"/>
      </dsp:txXfrm>
    </dsp:sp>
    <dsp:sp modelId="{86A47C52-867C-44BD-BEDC-63E684007873}">
      <dsp:nvSpPr>
        <dsp:cNvPr id="0" name=""/>
        <dsp:cNvSpPr/>
      </dsp:nvSpPr>
      <dsp:spPr>
        <a:xfrm rot="5400000">
          <a:off x="-157170" y="949261"/>
          <a:ext cx="1047803" cy="7334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800" kern="1200" dirty="0" smtClean="0"/>
            <a:t>9</a:t>
          </a:r>
          <a:r>
            <a:rPr lang="zh-CN" altLang="en-US" sz="1800" kern="1200" dirty="0" smtClean="0"/>
            <a:t>月中</a:t>
          </a:r>
          <a:endParaRPr lang="zh-CN" altLang="en-US" sz="1800" kern="1200" dirty="0"/>
        </a:p>
      </dsp:txBody>
      <dsp:txXfrm rot="-5400000">
        <a:off x="1" y="1158821"/>
        <a:ext cx="733462" cy="314341"/>
      </dsp:txXfrm>
    </dsp:sp>
    <dsp:sp modelId="{2E685266-B30A-4EC9-8368-3A1E001DE078}">
      <dsp:nvSpPr>
        <dsp:cNvPr id="0" name=""/>
        <dsp:cNvSpPr/>
      </dsp:nvSpPr>
      <dsp:spPr>
        <a:xfrm rot="5400000">
          <a:off x="3338563" y="-1813013"/>
          <a:ext cx="681072" cy="58912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/>
            <a:t>无功率贡献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/>
            <a:t>挤压波导壁，挤压调配波导相长度</a:t>
          </a:r>
          <a:endParaRPr lang="zh-CN" altLang="en-US" sz="1300" kern="1200" dirty="0"/>
        </a:p>
      </dsp:txBody>
      <dsp:txXfrm rot="-5400000">
        <a:off x="733463" y="825334"/>
        <a:ext cx="5858026" cy="614578"/>
      </dsp:txXfrm>
    </dsp:sp>
    <dsp:sp modelId="{28DF55BD-9C68-46A7-82F6-968D463DD24C}">
      <dsp:nvSpPr>
        <dsp:cNvPr id="0" name=""/>
        <dsp:cNvSpPr/>
      </dsp:nvSpPr>
      <dsp:spPr>
        <a:xfrm rot="5400000">
          <a:off x="-157170" y="1741350"/>
          <a:ext cx="1047803" cy="73346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065" tIns="12065" rIns="12065" bIns="12065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1900" kern="1200" dirty="0" smtClean="0"/>
            <a:t>10.31</a:t>
          </a:r>
          <a:endParaRPr lang="zh-CN" altLang="en-US" sz="1900" kern="1200" dirty="0"/>
        </a:p>
      </dsp:txBody>
      <dsp:txXfrm rot="-5400000">
        <a:off x="1" y="1950910"/>
        <a:ext cx="733462" cy="314341"/>
      </dsp:txXfrm>
    </dsp:sp>
    <dsp:sp modelId="{EF627478-7810-4EAD-9BED-861548AB0783}">
      <dsp:nvSpPr>
        <dsp:cNvPr id="0" name=""/>
        <dsp:cNvSpPr/>
      </dsp:nvSpPr>
      <dsp:spPr>
        <a:xfrm rot="5400000">
          <a:off x="3338563" y="-1020926"/>
          <a:ext cx="681072" cy="589127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/>
            <a:t>＞</a:t>
          </a:r>
          <a:r>
            <a:rPr lang="en-US" altLang="zh-CN" sz="1300" kern="1200" dirty="0" smtClean="0"/>
            <a:t>16KV</a:t>
          </a:r>
          <a:r>
            <a:rPr lang="zh-CN" altLang="en-US" sz="1300" kern="1200" dirty="0" smtClean="0"/>
            <a:t>时真空保护频繁</a:t>
          </a:r>
          <a:endParaRPr lang="zh-CN" alt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1300" kern="1200" dirty="0" smtClean="0"/>
            <a:t>搭建波形监测平台，侯汨等</a:t>
          </a:r>
          <a:endParaRPr lang="zh-CN" altLang="en-US" sz="1300" kern="1200" dirty="0"/>
        </a:p>
      </dsp:txBody>
      <dsp:txXfrm rot="-5400000">
        <a:off x="733463" y="1617421"/>
        <a:ext cx="5858026" cy="6145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60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60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60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4F1AB156-7B3C-4EEF-834F-54BD3F9E89F2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3220998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 smtClean="0"/>
              <a:t>Click to edit Master text styles</a:t>
            </a:r>
          </a:p>
          <a:p>
            <a:pPr lvl="1"/>
            <a:r>
              <a:rPr lang="en-US" altLang="zh-CN" noProof="0" smtClean="0"/>
              <a:t>Second level</a:t>
            </a:r>
          </a:p>
          <a:p>
            <a:pPr lvl="2"/>
            <a:r>
              <a:rPr lang="en-US" altLang="zh-CN" noProof="0" smtClean="0"/>
              <a:t>Third level</a:t>
            </a:r>
          </a:p>
          <a:p>
            <a:pPr lvl="3"/>
            <a:r>
              <a:rPr lang="en-US" altLang="zh-CN" noProof="0" smtClean="0"/>
              <a:t>Fourth level</a:t>
            </a:r>
          </a:p>
          <a:p>
            <a:pPr lvl="4"/>
            <a:r>
              <a:rPr lang="en-US" altLang="zh-CN" noProof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2E27CDDF-20A2-4C5A-B09D-180A0267EC57}" type="slidenum">
              <a:rPr lang="zh-CN" altLang="en-US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448413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888651">
              <a:spcBef>
                <a:spcPct val="0"/>
              </a:spcBef>
              <a:spcAft>
                <a:spcPts val="0"/>
              </a:spcAft>
              <a:defRPr/>
            </a:pPr>
            <a:endParaRPr lang="en-US" baseline="0" dirty="0" smtClean="0"/>
          </a:p>
        </p:txBody>
      </p:sp>
      <p:sp>
        <p:nvSpPr>
          <p:cNvPr id="3379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162EF4C-69EA-493E-9EC5-726499C64871}" type="slidenum">
              <a:rPr lang="en-US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0795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zh-CN" smtClean="0"/>
          </a:p>
        </p:txBody>
      </p:sp>
      <p:sp>
        <p:nvSpPr>
          <p:cNvPr id="317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0E0482D4-7665-47F2-A799-D2F3C254C7ED}" type="slidenum">
              <a:rPr lang="en-US" altLang="zh-CN" smtClean="0">
                <a:solidFill>
                  <a:srgbClr val="000000"/>
                </a:solidFill>
              </a:rPr>
              <a:pPr/>
              <a:t>12</a:t>
            </a:fld>
            <a:endParaRPr lang="en-US" altLang="zh-CN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210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4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5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7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8" name="Fuschia Tile"/>
          <p:cNvGrpSpPr>
            <a:grpSpLocks/>
          </p:cNvGrpSpPr>
          <p:nvPr userDrawn="1"/>
        </p:nvGrpSpPr>
        <p:grpSpPr bwMode="auto">
          <a:xfrm>
            <a:off x="762000" y="3184525"/>
            <a:ext cx="995363" cy="1327150"/>
            <a:chOff x="1071620" y="3044261"/>
            <a:chExt cx="1325880" cy="1325880"/>
          </a:xfrm>
        </p:grpSpPr>
        <p:sp>
          <p:nvSpPr>
            <p:cNvPr id="9" name="Rectangle 31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0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2147483646 w 223"/>
                <a:gd name="T1" fmla="*/ 2147483646 h 224"/>
                <a:gd name="T2" fmla="*/ 2147483646 w 223"/>
                <a:gd name="T3" fmla="*/ 2147483646 h 224"/>
                <a:gd name="T4" fmla="*/ 2147483646 w 223"/>
                <a:gd name="T5" fmla="*/ 2147483646 h 224"/>
                <a:gd name="T6" fmla="*/ 2147483646 w 223"/>
                <a:gd name="T7" fmla="*/ 2147483646 h 224"/>
                <a:gd name="T8" fmla="*/ 2147483646 w 223"/>
                <a:gd name="T9" fmla="*/ 0 h 224"/>
                <a:gd name="T10" fmla="*/ 2147483646 w 223"/>
                <a:gd name="T11" fmla="*/ 2147483646 h 224"/>
                <a:gd name="T12" fmla="*/ 2147483646 w 223"/>
                <a:gd name="T13" fmla="*/ 2147483646 h 224"/>
                <a:gd name="T14" fmla="*/ 2147483646 w 223"/>
                <a:gd name="T15" fmla="*/ 2147483646 h 224"/>
                <a:gd name="T16" fmla="*/ 2147483646 w 223"/>
                <a:gd name="T17" fmla="*/ 2147483646 h 224"/>
                <a:gd name="T18" fmla="*/ 0 w 223"/>
                <a:gd name="T19" fmla="*/ 2147483646 h 224"/>
                <a:gd name="T20" fmla="*/ 2147483646 w 223"/>
                <a:gd name="T21" fmla="*/ 2147483646 h 224"/>
                <a:gd name="T22" fmla="*/ 2147483646 w 223"/>
                <a:gd name="T23" fmla="*/ 2147483646 h 224"/>
                <a:gd name="T24" fmla="*/ 2147483646 w 223"/>
                <a:gd name="T25" fmla="*/ 2147483646 h 224"/>
                <a:gd name="T26" fmla="*/ 2147483646 w 223"/>
                <a:gd name="T27" fmla="*/ 2147483646 h 224"/>
                <a:gd name="T28" fmla="*/ 2147483646 w 223"/>
                <a:gd name="T29" fmla="*/ 2147483646 h 224"/>
                <a:gd name="T30" fmla="*/ 2147483646 w 223"/>
                <a:gd name="T31" fmla="*/ 2147483646 h 224"/>
                <a:gd name="T32" fmla="*/ 2147483646 w 223"/>
                <a:gd name="T33" fmla="*/ 2147483646 h 224"/>
                <a:gd name="T34" fmla="*/ 2147483646 w 223"/>
                <a:gd name="T35" fmla="*/ 2147483646 h 224"/>
                <a:gd name="T36" fmla="*/ 2147483646 w 223"/>
                <a:gd name="T37" fmla="*/ 2147483646 h 224"/>
                <a:gd name="T38" fmla="*/ 2147483646 w 223"/>
                <a:gd name="T39" fmla="*/ 2147483646 h 224"/>
                <a:gd name="T40" fmla="*/ 2147483646 w 223"/>
                <a:gd name="T41" fmla="*/ 2147483646 h 224"/>
                <a:gd name="T42" fmla="*/ 2147483646 w 223"/>
                <a:gd name="T43" fmla="*/ 2147483646 h 224"/>
                <a:gd name="T44" fmla="*/ 2147483646 w 223"/>
                <a:gd name="T45" fmla="*/ 2147483646 h 224"/>
                <a:gd name="T46" fmla="*/ 2147483646 w 223"/>
                <a:gd name="T47" fmla="*/ 2147483646 h 224"/>
                <a:gd name="T48" fmla="*/ 2147483646 w 223"/>
                <a:gd name="T49" fmla="*/ 2147483646 h 224"/>
                <a:gd name="T50" fmla="*/ 2147483646 w 223"/>
                <a:gd name="T51" fmla="*/ 2147483646 h 224"/>
                <a:gd name="T52" fmla="*/ 2147483646 w 223"/>
                <a:gd name="T53" fmla="*/ 2147483646 h 224"/>
                <a:gd name="T54" fmla="*/ 2147483646 w 223"/>
                <a:gd name="T55" fmla="*/ 2147483646 h 224"/>
                <a:gd name="T56" fmla="*/ 2147483646 w 223"/>
                <a:gd name="T57" fmla="*/ 2147483646 h 224"/>
                <a:gd name="T58" fmla="*/ 2147483646 w 223"/>
                <a:gd name="T59" fmla="*/ 2147483646 h 224"/>
                <a:gd name="T60" fmla="*/ 2147483646 w 223"/>
                <a:gd name="T61" fmla="*/ 2147483646 h 224"/>
                <a:gd name="T62" fmla="*/ 2147483646 w 223"/>
                <a:gd name="T63" fmla="*/ 2147483646 h 224"/>
                <a:gd name="T64" fmla="*/ 2147483646 w 223"/>
                <a:gd name="T65" fmla="*/ 2147483646 h 224"/>
                <a:gd name="T66" fmla="*/ 2147483646 w 223"/>
                <a:gd name="T67" fmla="*/ 2147483646 h 224"/>
                <a:gd name="T68" fmla="*/ 2147483646 w 223"/>
                <a:gd name="T69" fmla="*/ 2147483646 h 224"/>
                <a:gd name="T70" fmla="*/ 2147483646 w 223"/>
                <a:gd name="T71" fmla="*/ 2147483646 h 22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1" name="Orange Tile"/>
          <p:cNvGrpSpPr>
            <a:grpSpLocks/>
          </p:cNvGrpSpPr>
          <p:nvPr userDrawn="1"/>
        </p:nvGrpSpPr>
        <p:grpSpPr bwMode="auto">
          <a:xfrm>
            <a:off x="1885950" y="3184525"/>
            <a:ext cx="995363" cy="1327150"/>
            <a:chOff x="2487267" y="3044261"/>
            <a:chExt cx="1325880" cy="1325880"/>
          </a:xfrm>
        </p:grpSpPr>
        <p:sp>
          <p:nvSpPr>
            <p:cNvPr id="12" name="Rectangle 34"/>
            <p:cNvSpPr/>
            <p:nvPr/>
          </p:nvSpPr>
          <p:spPr bwMode="auto">
            <a:xfrm>
              <a:off x="2487267" y="3044261"/>
              <a:ext cx="1325880" cy="1325880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3" name="Freeform 30"/>
            <p:cNvSpPr>
              <a:spLocks noEditPoints="1"/>
            </p:cNvSpPr>
            <p:nvPr/>
          </p:nvSpPr>
          <p:spPr bwMode="auto">
            <a:xfrm>
              <a:off x="2774763" y="3284926"/>
              <a:ext cx="750888" cy="844550"/>
            </a:xfrm>
            <a:custGeom>
              <a:avLst/>
              <a:gdLst>
                <a:gd name="T0" fmla="*/ 2147483646 w 200"/>
                <a:gd name="T1" fmla="*/ 0 h 225"/>
                <a:gd name="T2" fmla="*/ 2147483646 w 200"/>
                <a:gd name="T3" fmla="*/ 2147483646 h 225"/>
                <a:gd name="T4" fmla="*/ 2147483646 w 200"/>
                <a:gd name="T5" fmla="*/ 2147483646 h 225"/>
                <a:gd name="T6" fmla="*/ 0 w 200"/>
                <a:gd name="T7" fmla="*/ 2147483646 h 225"/>
                <a:gd name="T8" fmla="*/ 2147483646 w 200"/>
                <a:gd name="T9" fmla="*/ 2147483646 h 225"/>
                <a:gd name="T10" fmla="*/ 2147483646 w 200"/>
                <a:gd name="T11" fmla="*/ 2147483646 h 225"/>
                <a:gd name="T12" fmla="*/ 0 w 200"/>
                <a:gd name="T13" fmla="*/ 2147483646 h 225"/>
                <a:gd name="T14" fmla="*/ 2147483646 w 200"/>
                <a:gd name="T15" fmla="*/ 2147483646 h 225"/>
                <a:gd name="T16" fmla="*/ 2147483646 w 200"/>
                <a:gd name="T17" fmla="*/ 2147483646 h 225"/>
                <a:gd name="T18" fmla="*/ 0 w 200"/>
                <a:gd name="T19" fmla="*/ 2147483646 h 225"/>
                <a:gd name="T20" fmla="*/ 2147483646 w 200"/>
                <a:gd name="T21" fmla="*/ 2147483646 h 225"/>
                <a:gd name="T22" fmla="*/ 2147483646 w 200"/>
                <a:gd name="T23" fmla="*/ 2147483646 h 225"/>
                <a:gd name="T24" fmla="*/ 2147483646 w 200"/>
                <a:gd name="T25" fmla="*/ 2147483646 h 225"/>
                <a:gd name="T26" fmla="*/ 2147483646 w 200"/>
                <a:gd name="T27" fmla="*/ 2147483646 h 225"/>
                <a:gd name="T28" fmla="*/ 2147483646 w 200"/>
                <a:gd name="T29" fmla="*/ 0 h 225"/>
                <a:gd name="T30" fmla="*/ 2147483646 w 200"/>
                <a:gd name="T31" fmla="*/ 2147483646 h 225"/>
                <a:gd name="T32" fmla="*/ 2147483646 w 200"/>
                <a:gd name="T33" fmla="*/ 2147483646 h 225"/>
                <a:gd name="T34" fmla="*/ 2147483646 w 200"/>
                <a:gd name="T35" fmla="*/ 2147483646 h 225"/>
                <a:gd name="T36" fmla="*/ 2147483646 w 200"/>
                <a:gd name="T37" fmla="*/ 2147483646 h 225"/>
                <a:gd name="T38" fmla="*/ 2147483646 w 200"/>
                <a:gd name="T39" fmla="*/ 2147483646 h 225"/>
                <a:gd name="T40" fmla="*/ 2147483646 w 200"/>
                <a:gd name="T41" fmla="*/ 2147483646 h 225"/>
                <a:gd name="T42" fmla="*/ 2147483646 w 200"/>
                <a:gd name="T43" fmla="*/ 2147483646 h 225"/>
                <a:gd name="T44" fmla="*/ 2147483646 w 200"/>
                <a:gd name="T45" fmla="*/ 2147483646 h 225"/>
                <a:gd name="T46" fmla="*/ 2147483646 w 200"/>
                <a:gd name="T47" fmla="*/ 2147483646 h 225"/>
                <a:gd name="T48" fmla="*/ 2147483646 w 200"/>
                <a:gd name="T49" fmla="*/ 2147483646 h 225"/>
                <a:gd name="T50" fmla="*/ 2147483646 w 200"/>
                <a:gd name="T51" fmla="*/ 2147483646 h 225"/>
                <a:gd name="T52" fmla="*/ 2147483646 w 200"/>
                <a:gd name="T53" fmla="*/ 2147483646 h 225"/>
                <a:gd name="T54" fmla="*/ 2147483646 w 200"/>
                <a:gd name="T55" fmla="*/ 2147483646 h 225"/>
                <a:gd name="T56" fmla="*/ 2147483646 w 200"/>
                <a:gd name="T57" fmla="*/ 2147483646 h 225"/>
                <a:gd name="T58" fmla="*/ 2147483646 w 200"/>
                <a:gd name="T59" fmla="*/ 2147483646 h 225"/>
                <a:gd name="T60" fmla="*/ 2147483646 w 200"/>
                <a:gd name="T61" fmla="*/ 2147483646 h 225"/>
                <a:gd name="T62" fmla="*/ 2147483646 w 200"/>
                <a:gd name="T63" fmla="*/ 2147483646 h 225"/>
                <a:gd name="T64" fmla="*/ 2147483646 w 200"/>
                <a:gd name="T65" fmla="*/ 2147483646 h 225"/>
                <a:gd name="T66" fmla="*/ 2147483646 w 200"/>
                <a:gd name="T67" fmla="*/ 2147483646 h 225"/>
                <a:gd name="T68" fmla="*/ 2147483646 w 200"/>
                <a:gd name="T69" fmla="*/ 2147483646 h 225"/>
                <a:gd name="T70" fmla="*/ 2147483646 w 200"/>
                <a:gd name="T71" fmla="*/ 2147483646 h 225"/>
                <a:gd name="T72" fmla="*/ 2147483646 w 200"/>
                <a:gd name="T73" fmla="*/ 2147483646 h 225"/>
                <a:gd name="T74" fmla="*/ 2147483646 w 200"/>
                <a:gd name="T75" fmla="*/ 2147483646 h 225"/>
                <a:gd name="T76" fmla="*/ 2147483646 w 200"/>
                <a:gd name="T77" fmla="*/ 2147483646 h 225"/>
                <a:gd name="T78" fmla="*/ 2147483646 w 200"/>
                <a:gd name="T79" fmla="*/ 2147483646 h 225"/>
                <a:gd name="T80" fmla="*/ 2147483646 w 200"/>
                <a:gd name="T81" fmla="*/ 2147483646 h 225"/>
                <a:gd name="T82" fmla="*/ 2147483646 w 200"/>
                <a:gd name="T83" fmla="*/ 2147483646 h 225"/>
                <a:gd name="T84" fmla="*/ 2147483646 w 200"/>
                <a:gd name="T85" fmla="*/ 2147483646 h 225"/>
                <a:gd name="T86" fmla="*/ 2147483646 w 200"/>
                <a:gd name="T87" fmla="*/ 2147483646 h 225"/>
                <a:gd name="T88" fmla="*/ 2147483646 w 200"/>
                <a:gd name="T89" fmla="*/ 2147483646 h 225"/>
                <a:gd name="T90" fmla="*/ 2147483646 w 200"/>
                <a:gd name="T91" fmla="*/ 2147483646 h 225"/>
                <a:gd name="T92" fmla="*/ 2147483646 w 200"/>
                <a:gd name="T93" fmla="*/ 2147483646 h 225"/>
                <a:gd name="T94" fmla="*/ 2147483646 w 200"/>
                <a:gd name="T95" fmla="*/ 2147483646 h 225"/>
                <a:gd name="T96" fmla="*/ 2147483646 w 200"/>
                <a:gd name="T97" fmla="*/ 2147483646 h 225"/>
                <a:gd name="T98" fmla="*/ 2147483646 w 200"/>
                <a:gd name="T99" fmla="*/ 2147483646 h 225"/>
                <a:gd name="T100" fmla="*/ 2147483646 w 200"/>
                <a:gd name="T101" fmla="*/ 2147483646 h 225"/>
                <a:gd name="T102" fmla="*/ 2147483646 w 200"/>
                <a:gd name="T103" fmla="*/ 2147483646 h 225"/>
                <a:gd name="T104" fmla="*/ 2147483646 w 200"/>
                <a:gd name="T105" fmla="*/ 2147483646 h 22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0" h="225">
                  <a:moveTo>
                    <a:pt x="16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2" y="0"/>
                    <a:pt x="11" y="2"/>
                    <a:pt x="11" y="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4" y="18"/>
                    <a:pt x="0" y="21"/>
                    <a:pt x="0" y="26"/>
                  </a:cubicBezTo>
                  <a:cubicBezTo>
                    <a:pt x="0" y="30"/>
                    <a:pt x="4" y="34"/>
                    <a:pt x="11" y="35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7"/>
                    <a:pt x="0" y="51"/>
                    <a:pt x="0" y="55"/>
                  </a:cubicBezTo>
                  <a:cubicBezTo>
                    <a:pt x="0" y="60"/>
                    <a:pt x="4" y="63"/>
                    <a:pt x="11" y="65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4" y="76"/>
                    <a:pt x="0" y="80"/>
                    <a:pt x="0" y="85"/>
                  </a:cubicBezTo>
                  <a:cubicBezTo>
                    <a:pt x="0" y="89"/>
                    <a:pt x="4" y="93"/>
                    <a:pt x="11" y="94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4" y="106"/>
                    <a:pt x="0" y="109"/>
                    <a:pt x="0" y="114"/>
                  </a:cubicBezTo>
                  <a:cubicBezTo>
                    <a:pt x="0" y="119"/>
                    <a:pt x="4" y="122"/>
                    <a:pt x="11" y="123"/>
                  </a:cubicBezTo>
                  <a:cubicBezTo>
                    <a:pt x="11" y="134"/>
                    <a:pt x="11" y="134"/>
                    <a:pt x="11" y="134"/>
                  </a:cubicBezTo>
                  <a:cubicBezTo>
                    <a:pt x="4" y="135"/>
                    <a:pt x="0" y="139"/>
                    <a:pt x="0" y="143"/>
                  </a:cubicBezTo>
                  <a:cubicBezTo>
                    <a:pt x="0" y="148"/>
                    <a:pt x="4" y="152"/>
                    <a:pt x="11" y="153"/>
                  </a:cubicBezTo>
                  <a:cubicBezTo>
                    <a:pt x="11" y="163"/>
                    <a:pt x="11" y="163"/>
                    <a:pt x="11" y="163"/>
                  </a:cubicBezTo>
                  <a:cubicBezTo>
                    <a:pt x="4" y="164"/>
                    <a:pt x="0" y="168"/>
                    <a:pt x="0" y="173"/>
                  </a:cubicBezTo>
                  <a:cubicBezTo>
                    <a:pt x="0" y="177"/>
                    <a:pt x="4" y="181"/>
                    <a:pt x="11" y="182"/>
                  </a:cubicBezTo>
                  <a:cubicBezTo>
                    <a:pt x="11" y="193"/>
                    <a:pt x="11" y="193"/>
                    <a:pt x="11" y="193"/>
                  </a:cubicBezTo>
                  <a:cubicBezTo>
                    <a:pt x="4" y="194"/>
                    <a:pt x="0" y="197"/>
                    <a:pt x="0" y="202"/>
                  </a:cubicBezTo>
                  <a:cubicBezTo>
                    <a:pt x="0" y="207"/>
                    <a:pt x="4" y="210"/>
                    <a:pt x="11" y="211"/>
                  </a:cubicBezTo>
                  <a:cubicBezTo>
                    <a:pt x="11" y="221"/>
                    <a:pt x="11" y="221"/>
                    <a:pt x="11" y="221"/>
                  </a:cubicBezTo>
                  <a:cubicBezTo>
                    <a:pt x="11" y="223"/>
                    <a:pt x="12" y="225"/>
                    <a:pt x="15" y="225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82" y="225"/>
                    <a:pt x="200" y="207"/>
                    <a:pt x="200" y="185"/>
                  </a:cubicBezTo>
                  <a:cubicBezTo>
                    <a:pt x="200" y="40"/>
                    <a:pt x="200" y="40"/>
                    <a:pt x="200" y="40"/>
                  </a:cubicBezTo>
                  <a:cubicBezTo>
                    <a:pt x="200" y="18"/>
                    <a:pt x="182" y="0"/>
                    <a:pt x="160" y="0"/>
                  </a:cubicBezTo>
                  <a:close/>
                  <a:moveTo>
                    <a:pt x="8" y="26"/>
                  </a:moveTo>
                  <a:cubicBezTo>
                    <a:pt x="9" y="26"/>
                    <a:pt x="9" y="25"/>
                    <a:pt x="11" y="25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7"/>
                    <a:pt x="9" y="26"/>
                    <a:pt x="8" y="26"/>
                  </a:cubicBezTo>
                  <a:close/>
                  <a:moveTo>
                    <a:pt x="8" y="55"/>
                  </a:moveTo>
                  <a:cubicBezTo>
                    <a:pt x="9" y="55"/>
                    <a:pt x="9" y="54"/>
                    <a:pt x="11" y="54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9" y="56"/>
                    <a:pt x="9" y="56"/>
                    <a:pt x="8" y="55"/>
                  </a:cubicBezTo>
                  <a:close/>
                  <a:moveTo>
                    <a:pt x="8" y="85"/>
                  </a:moveTo>
                  <a:cubicBezTo>
                    <a:pt x="9" y="84"/>
                    <a:pt x="9" y="84"/>
                    <a:pt x="11" y="83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9" y="85"/>
                    <a:pt x="9" y="85"/>
                    <a:pt x="8" y="85"/>
                  </a:cubicBezTo>
                  <a:close/>
                  <a:moveTo>
                    <a:pt x="8" y="114"/>
                  </a:moveTo>
                  <a:cubicBezTo>
                    <a:pt x="9" y="114"/>
                    <a:pt x="9" y="113"/>
                    <a:pt x="11" y="11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9" y="115"/>
                    <a:pt x="9" y="114"/>
                    <a:pt x="8" y="114"/>
                  </a:cubicBezTo>
                  <a:close/>
                  <a:moveTo>
                    <a:pt x="8" y="143"/>
                  </a:moveTo>
                  <a:cubicBezTo>
                    <a:pt x="9" y="143"/>
                    <a:pt x="9" y="142"/>
                    <a:pt x="11" y="142"/>
                  </a:cubicBezTo>
                  <a:cubicBezTo>
                    <a:pt x="11" y="144"/>
                    <a:pt x="11" y="144"/>
                    <a:pt x="11" y="144"/>
                  </a:cubicBezTo>
                  <a:cubicBezTo>
                    <a:pt x="9" y="144"/>
                    <a:pt x="9" y="144"/>
                    <a:pt x="8" y="143"/>
                  </a:cubicBezTo>
                  <a:close/>
                  <a:moveTo>
                    <a:pt x="8" y="173"/>
                  </a:moveTo>
                  <a:cubicBezTo>
                    <a:pt x="9" y="172"/>
                    <a:pt x="9" y="172"/>
                    <a:pt x="11" y="171"/>
                  </a:cubicBezTo>
                  <a:cubicBezTo>
                    <a:pt x="11" y="174"/>
                    <a:pt x="11" y="174"/>
                    <a:pt x="11" y="174"/>
                  </a:cubicBezTo>
                  <a:cubicBezTo>
                    <a:pt x="9" y="173"/>
                    <a:pt x="9" y="173"/>
                    <a:pt x="8" y="173"/>
                  </a:cubicBezTo>
                  <a:close/>
                  <a:moveTo>
                    <a:pt x="8" y="202"/>
                  </a:moveTo>
                  <a:cubicBezTo>
                    <a:pt x="9" y="202"/>
                    <a:pt x="9" y="201"/>
                    <a:pt x="11" y="201"/>
                  </a:cubicBezTo>
                  <a:cubicBezTo>
                    <a:pt x="11" y="203"/>
                    <a:pt x="11" y="203"/>
                    <a:pt x="11" y="203"/>
                  </a:cubicBezTo>
                  <a:cubicBezTo>
                    <a:pt x="9" y="203"/>
                    <a:pt x="9" y="202"/>
                    <a:pt x="8" y="202"/>
                  </a:cubicBezTo>
                  <a:close/>
                  <a:moveTo>
                    <a:pt x="192" y="185"/>
                  </a:moveTo>
                  <a:cubicBezTo>
                    <a:pt x="192" y="202"/>
                    <a:pt x="177" y="217"/>
                    <a:pt x="160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9" y="201"/>
                    <a:pt x="19" y="201"/>
                    <a:pt x="19" y="201"/>
                  </a:cubicBezTo>
                  <a:cubicBezTo>
                    <a:pt x="20" y="201"/>
                    <a:pt x="20" y="202"/>
                    <a:pt x="21" y="202"/>
                  </a:cubicBezTo>
                  <a:cubicBezTo>
                    <a:pt x="21" y="203"/>
                    <a:pt x="22" y="203"/>
                    <a:pt x="21" y="205"/>
                  </a:cubicBezTo>
                  <a:cubicBezTo>
                    <a:pt x="29" y="207"/>
                    <a:pt x="29" y="207"/>
                    <a:pt x="29" y="207"/>
                  </a:cubicBezTo>
                  <a:cubicBezTo>
                    <a:pt x="30" y="203"/>
                    <a:pt x="29" y="200"/>
                    <a:pt x="27" y="198"/>
                  </a:cubicBezTo>
                  <a:cubicBezTo>
                    <a:pt x="26" y="195"/>
                    <a:pt x="22" y="193"/>
                    <a:pt x="19" y="193"/>
                  </a:cubicBezTo>
                  <a:cubicBezTo>
                    <a:pt x="19" y="172"/>
                    <a:pt x="19" y="172"/>
                    <a:pt x="19" y="172"/>
                  </a:cubicBezTo>
                  <a:cubicBezTo>
                    <a:pt x="20" y="172"/>
                    <a:pt x="20" y="172"/>
                    <a:pt x="21" y="173"/>
                  </a:cubicBezTo>
                  <a:cubicBezTo>
                    <a:pt x="21" y="173"/>
                    <a:pt x="22" y="174"/>
                    <a:pt x="21" y="175"/>
                  </a:cubicBezTo>
                  <a:cubicBezTo>
                    <a:pt x="29" y="178"/>
                    <a:pt x="29" y="178"/>
                    <a:pt x="29" y="178"/>
                  </a:cubicBezTo>
                  <a:cubicBezTo>
                    <a:pt x="30" y="173"/>
                    <a:pt x="29" y="170"/>
                    <a:pt x="27" y="168"/>
                  </a:cubicBezTo>
                  <a:cubicBezTo>
                    <a:pt x="26" y="166"/>
                    <a:pt x="22" y="164"/>
                    <a:pt x="19" y="163"/>
                  </a:cubicBezTo>
                  <a:cubicBezTo>
                    <a:pt x="19" y="142"/>
                    <a:pt x="19" y="142"/>
                    <a:pt x="19" y="142"/>
                  </a:cubicBezTo>
                  <a:cubicBezTo>
                    <a:pt x="20" y="143"/>
                    <a:pt x="20" y="143"/>
                    <a:pt x="21" y="144"/>
                  </a:cubicBezTo>
                  <a:cubicBezTo>
                    <a:pt x="21" y="144"/>
                    <a:pt x="22" y="145"/>
                    <a:pt x="21" y="146"/>
                  </a:cubicBezTo>
                  <a:cubicBezTo>
                    <a:pt x="29" y="148"/>
                    <a:pt x="29" y="148"/>
                    <a:pt x="29" y="148"/>
                  </a:cubicBezTo>
                  <a:cubicBezTo>
                    <a:pt x="30" y="144"/>
                    <a:pt x="29" y="141"/>
                    <a:pt x="27" y="139"/>
                  </a:cubicBezTo>
                  <a:cubicBezTo>
                    <a:pt x="26" y="136"/>
                    <a:pt x="22" y="135"/>
                    <a:pt x="19" y="134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0" y="113"/>
                    <a:pt x="20" y="114"/>
                    <a:pt x="21" y="114"/>
                  </a:cubicBezTo>
                  <a:cubicBezTo>
                    <a:pt x="21" y="115"/>
                    <a:pt x="22" y="115"/>
                    <a:pt x="21" y="117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30" y="115"/>
                    <a:pt x="29" y="111"/>
                    <a:pt x="27" y="110"/>
                  </a:cubicBezTo>
                  <a:cubicBezTo>
                    <a:pt x="26" y="107"/>
                    <a:pt x="22" y="105"/>
                    <a:pt x="19" y="105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20" y="84"/>
                    <a:pt x="20" y="84"/>
                    <a:pt x="21" y="85"/>
                  </a:cubicBezTo>
                  <a:cubicBezTo>
                    <a:pt x="21" y="85"/>
                    <a:pt x="22" y="86"/>
                    <a:pt x="21" y="87"/>
                  </a:cubicBezTo>
                  <a:cubicBezTo>
                    <a:pt x="29" y="90"/>
                    <a:pt x="29" y="90"/>
                    <a:pt x="29" y="90"/>
                  </a:cubicBezTo>
                  <a:cubicBezTo>
                    <a:pt x="30" y="85"/>
                    <a:pt x="29" y="82"/>
                    <a:pt x="27" y="80"/>
                  </a:cubicBezTo>
                  <a:cubicBezTo>
                    <a:pt x="26" y="78"/>
                    <a:pt x="22" y="76"/>
                    <a:pt x="19" y="75"/>
                  </a:cubicBezTo>
                  <a:cubicBezTo>
                    <a:pt x="19" y="54"/>
                    <a:pt x="19" y="54"/>
                    <a:pt x="19" y="54"/>
                  </a:cubicBezTo>
                  <a:cubicBezTo>
                    <a:pt x="20" y="54"/>
                    <a:pt x="20" y="55"/>
                    <a:pt x="21" y="56"/>
                  </a:cubicBezTo>
                  <a:cubicBezTo>
                    <a:pt x="21" y="56"/>
                    <a:pt x="22" y="56"/>
                    <a:pt x="21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30" y="56"/>
                    <a:pt x="29" y="53"/>
                    <a:pt x="27" y="51"/>
                  </a:cubicBezTo>
                  <a:cubicBezTo>
                    <a:pt x="26" y="48"/>
                    <a:pt x="22" y="47"/>
                    <a:pt x="19" y="46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20" y="25"/>
                    <a:pt x="20" y="26"/>
                    <a:pt x="21" y="26"/>
                  </a:cubicBezTo>
                  <a:cubicBezTo>
                    <a:pt x="21" y="26"/>
                    <a:pt x="22" y="27"/>
                    <a:pt x="21" y="29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30" y="27"/>
                    <a:pt x="29" y="23"/>
                    <a:pt x="27" y="22"/>
                  </a:cubicBezTo>
                  <a:cubicBezTo>
                    <a:pt x="26" y="19"/>
                    <a:pt x="22" y="17"/>
                    <a:pt x="19" y="16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60" y="8"/>
                    <a:pt x="160" y="8"/>
                    <a:pt x="160" y="8"/>
                  </a:cubicBezTo>
                  <a:cubicBezTo>
                    <a:pt x="177" y="8"/>
                    <a:pt x="192" y="22"/>
                    <a:pt x="192" y="40"/>
                  </a:cubicBezTo>
                  <a:lnTo>
                    <a:pt x="192" y="18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4" name="Teal Tile"/>
          <p:cNvGrpSpPr>
            <a:grpSpLocks/>
          </p:cNvGrpSpPr>
          <p:nvPr userDrawn="1"/>
        </p:nvGrpSpPr>
        <p:grpSpPr bwMode="auto">
          <a:xfrm>
            <a:off x="762000" y="4683125"/>
            <a:ext cx="995363" cy="1325563"/>
            <a:chOff x="1020317" y="4686638"/>
            <a:chExt cx="1325880" cy="1325880"/>
          </a:xfrm>
        </p:grpSpPr>
        <p:sp>
          <p:nvSpPr>
            <p:cNvPr id="15" name="Rectangle 37"/>
            <p:cNvSpPr/>
            <p:nvPr/>
          </p:nvSpPr>
          <p:spPr bwMode="auto">
            <a:xfrm>
              <a:off x="1020317" y="4686638"/>
              <a:ext cx="1325880" cy="1325880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455948" y="4930478"/>
              <a:ext cx="454618" cy="838200"/>
            </a:xfrm>
            <a:custGeom>
              <a:avLst/>
              <a:gdLst>
                <a:gd name="T0" fmla="*/ 2147483646 w 122"/>
                <a:gd name="T1" fmla="*/ 2147483646 h 225"/>
                <a:gd name="T2" fmla="*/ 2147483646 w 122"/>
                <a:gd name="T3" fmla="*/ 2147483646 h 225"/>
                <a:gd name="T4" fmla="*/ 2147483646 w 122"/>
                <a:gd name="T5" fmla="*/ 2147483646 h 225"/>
                <a:gd name="T6" fmla="*/ 2147483646 w 122"/>
                <a:gd name="T7" fmla="*/ 2147483646 h 225"/>
                <a:gd name="T8" fmla="*/ 2147483646 w 122"/>
                <a:gd name="T9" fmla="*/ 2147483646 h 225"/>
                <a:gd name="T10" fmla="*/ 2147483646 w 122"/>
                <a:gd name="T11" fmla="*/ 2147483646 h 225"/>
                <a:gd name="T12" fmla="*/ 2147483646 w 122"/>
                <a:gd name="T13" fmla="*/ 2147483646 h 225"/>
                <a:gd name="T14" fmla="*/ 2147483646 w 122"/>
                <a:gd name="T15" fmla="*/ 2147483646 h 225"/>
                <a:gd name="T16" fmla="*/ 2147483646 w 122"/>
                <a:gd name="T17" fmla="*/ 2147483646 h 225"/>
                <a:gd name="T18" fmla="*/ 2147483646 w 122"/>
                <a:gd name="T19" fmla="*/ 2147483646 h 225"/>
                <a:gd name="T20" fmla="*/ 2147483646 w 122"/>
                <a:gd name="T21" fmla="*/ 2147483646 h 225"/>
                <a:gd name="T22" fmla="*/ 2147483646 w 122"/>
                <a:gd name="T23" fmla="*/ 2147483646 h 225"/>
                <a:gd name="T24" fmla="*/ 2147483646 w 122"/>
                <a:gd name="T25" fmla="*/ 2147483646 h 225"/>
                <a:gd name="T26" fmla="*/ 2147483646 w 122"/>
                <a:gd name="T27" fmla="*/ 2147483646 h 225"/>
                <a:gd name="T28" fmla="*/ 2147483646 w 122"/>
                <a:gd name="T29" fmla="*/ 2147483646 h 225"/>
                <a:gd name="T30" fmla="*/ 2147483646 w 122"/>
                <a:gd name="T31" fmla="*/ 2147483646 h 225"/>
                <a:gd name="T32" fmla="*/ 2147483646 w 122"/>
                <a:gd name="T33" fmla="*/ 2147483646 h 225"/>
                <a:gd name="T34" fmla="*/ 2147483646 w 122"/>
                <a:gd name="T35" fmla="*/ 2147483646 h 225"/>
                <a:gd name="T36" fmla="*/ 2147483646 w 122"/>
                <a:gd name="T37" fmla="*/ 2147483646 h 225"/>
                <a:gd name="T38" fmla="*/ 2147483646 w 122"/>
                <a:gd name="T39" fmla="*/ 2147483646 h 225"/>
                <a:gd name="T40" fmla="*/ 2147483646 w 122"/>
                <a:gd name="T41" fmla="*/ 2147483646 h 225"/>
                <a:gd name="T42" fmla="*/ 2147483646 w 122"/>
                <a:gd name="T43" fmla="*/ 2147483646 h 225"/>
                <a:gd name="T44" fmla="*/ 2147483646 w 122"/>
                <a:gd name="T45" fmla="*/ 2147483646 h 225"/>
                <a:gd name="T46" fmla="*/ 2147483646 w 122"/>
                <a:gd name="T47" fmla="*/ 2147483646 h 225"/>
                <a:gd name="T48" fmla="*/ 2147483646 w 122"/>
                <a:gd name="T49" fmla="*/ 2147483646 h 225"/>
                <a:gd name="T50" fmla="*/ 2147483646 w 122"/>
                <a:gd name="T51" fmla="*/ 2147483646 h 225"/>
                <a:gd name="T52" fmla="*/ 2147483646 w 122"/>
                <a:gd name="T53" fmla="*/ 2147483646 h 225"/>
                <a:gd name="T54" fmla="*/ 2147483646 w 122"/>
                <a:gd name="T55" fmla="*/ 2147483646 h 225"/>
                <a:gd name="T56" fmla="*/ 2147483646 w 122"/>
                <a:gd name="T57" fmla="*/ 2147483646 h 225"/>
                <a:gd name="T58" fmla="*/ 2147483646 w 122"/>
                <a:gd name="T59" fmla="*/ 2147483646 h 225"/>
                <a:gd name="T60" fmla="*/ 2147483646 w 122"/>
                <a:gd name="T61" fmla="*/ 2147483646 h 225"/>
                <a:gd name="T62" fmla="*/ 2147483646 w 122"/>
                <a:gd name="T63" fmla="*/ 2147483646 h 225"/>
                <a:gd name="T64" fmla="*/ 2147483646 w 122"/>
                <a:gd name="T65" fmla="*/ 2147483646 h 225"/>
                <a:gd name="T66" fmla="*/ 2147483646 w 122"/>
                <a:gd name="T67" fmla="*/ 2147483646 h 225"/>
                <a:gd name="T68" fmla="*/ 2147483646 w 122"/>
                <a:gd name="T69" fmla="*/ 2147483646 h 225"/>
                <a:gd name="T70" fmla="*/ 2147483646 w 122"/>
                <a:gd name="T71" fmla="*/ 2147483646 h 225"/>
                <a:gd name="T72" fmla="*/ 2147483646 w 122"/>
                <a:gd name="T73" fmla="*/ 2147483646 h 225"/>
                <a:gd name="T74" fmla="*/ 2147483646 w 122"/>
                <a:gd name="T75" fmla="*/ 2147483646 h 225"/>
                <a:gd name="T76" fmla="*/ 2147483646 w 122"/>
                <a:gd name="T77" fmla="*/ 2147483646 h 225"/>
                <a:gd name="T78" fmla="*/ 2147483646 w 122"/>
                <a:gd name="T79" fmla="*/ 2147483646 h 225"/>
                <a:gd name="T80" fmla="*/ 2147483646 w 122"/>
                <a:gd name="T81" fmla="*/ 2147483646 h 225"/>
                <a:gd name="T82" fmla="*/ 2147483646 w 122"/>
                <a:gd name="T83" fmla="*/ 2147483646 h 225"/>
                <a:gd name="T84" fmla="*/ 2147483646 w 122"/>
                <a:gd name="T85" fmla="*/ 2147483646 h 225"/>
                <a:gd name="T86" fmla="*/ 2147483646 w 122"/>
                <a:gd name="T87" fmla="*/ 2147483646 h 225"/>
                <a:gd name="T88" fmla="*/ 2147483646 w 122"/>
                <a:gd name="T89" fmla="*/ 2147483646 h 225"/>
                <a:gd name="T90" fmla="*/ 2147483646 w 122"/>
                <a:gd name="T91" fmla="*/ 2147483646 h 225"/>
                <a:gd name="T92" fmla="*/ 2147483646 w 122"/>
                <a:gd name="T93" fmla="*/ 2147483646 h 225"/>
                <a:gd name="T94" fmla="*/ 2147483646 w 122"/>
                <a:gd name="T95" fmla="*/ 2147483646 h 225"/>
                <a:gd name="T96" fmla="*/ 2147483646 w 122"/>
                <a:gd name="T97" fmla="*/ 2147483646 h 225"/>
                <a:gd name="T98" fmla="*/ 2147483646 w 122"/>
                <a:gd name="T99" fmla="*/ 2147483646 h 225"/>
                <a:gd name="T100" fmla="*/ 2147483646 w 122"/>
                <a:gd name="T101" fmla="*/ 2147483646 h 225"/>
                <a:gd name="T102" fmla="*/ 2147483646 w 122"/>
                <a:gd name="T103" fmla="*/ 2147483646 h 225"/>
                <a:gd name="T104" fmla="*/ 2147483646 w 122"/>
                <a:gd name="T105" fmla="*/ 2147483646 h 225"/>
                <a:gd name="T106" fmla="*/ 2147483646 w 122"/>
                <a:gd name="T107" fmla="*/ 2147483646 h 225"/>
                <a:gd name="T108" fmla="*/ 2147483646 w 122"/>
                <a:gd name="T109" fmla="*/ 2147483646 h 225"/>
                <a:gd name="T110" fmla="*/ 2147483646 w 122"/>
                <a:gd name="T111" fmla="*/ 2147483646 h 225"/>
                <a:gd name="T112" fmla="*/ 2147483646 w 122"/>
                <a:gd name="T113" fmla="*/ 2147483646 h 225"/>
                <a:gd name="T114" fmla="*/ 2147483646 w 122"/>
                <a:gd name="T115" fmla="*/ 2147483646 h 225"/>
                <a:gd name="T116" fmla="*/ 2147483646 w 122"/>
                <a:gd name="T117" fmla="*/ 2147483646 h 225"/>
                <a:gd name="T118" fmla="*/ 2147483646 w 122"/>
                <a:gd name="T119" fmla="*/ 2147483646 h 225"/>
                <a:gd name="T120" fmla="*/ 2147483646 w 122"/>
                <a:gd name="T121" fmla="*/ 2147483646 h 225"/>
                <a:gd name="T122" fmla="*/ 2147483646 w 122"/>
                <a:gd name="T123" fmla="*/ 2147483646 h 22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22" h="225">
                  <a:moveTo>
                    <a:pt x="3" y="57"/>
                  </a:moveTo>
                  <a:cubicBezTo>
                    <a:pt x="1" y="59"/>
                    <a:pt x="1" y="62"/>
                    <a:pt x="2" y="65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4" y="74"/>
                    <a:pt x="9" y="77"/>
                    <a:pt x="14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5" y="77"/>
                    <a:pt x="16" y="77"/>
                    <a:pt x="17" y="76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15" y="47"/>
                    <a:pt x="118" y="45"/>
                    <a:pt x="119" y="42"/>
                  </a:cubicBezTo>
                  <a:cubicBezTo>
                    <a:pt x="120" y="40"/>
                    <a:pt x="121" y="37"/>
                    <a:pt x="120" y="34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7" y="25"/>
                    <a:pt x="113" y="22"/>
                    <a:pt x="108" y="22"/>
                  </a:cubicBezTo>
                  <a:cubicBezTo>
                    <a:pt x="107" y="22"/>
                    <a:pt x="106" y="22"/>
                    <a:pt x="105" y="23"/>
                  </a:cubicBezTo>
                  <a:cubicBezTo>
                    <a:pt x="9" y="51"/>
                    <a:pt x="9" y="51"/>
                    <a:pt x="9" y="51"/>
                  </a:cubicBezTo>
                  <a:cubicBezTo>
                    <a:pt x="6" y="52"/>
                    <a:pt x="4" y="54"/>
                    <a:pt x="3" y="57"/>
                  </a:cubicBezTo>
                  <a:close/>
                  <a:moveTo>
                    <a:pt x="106" y="28"/>
                  </a:moveTo>
                  <a:cubicBezTo>
                    <a:pt x="107" y="28"/>
                    <a:pt x="107" y="28"/>
                    <a:pt x="108" y="28"/>
                  </a:cubicBezTo>
                  <a:cubicBezTo>
                    <a:pt x="110" y="28"/>
                    <a:pt x="112" y="30"/>
                    <a:pt x="113" y="32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7"/>
                    <a:pt x="114" y="38"/>
                    <a:pt x="114" y="40"/>
                  </a:cubicBezTo>
                  <a:cubicBezTo>
                    <a:pt x="113" y="41"/>
                    <a:pt x="112" y="42"/>
                    <a:pt x="111" y="42"/>
                  </a:cubicBez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1" y="71"/>
                    <a:pt x="9" y="69"/>
                    <a:pt x="9" y="67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7" y="62"/>
                    <a:pt x="7" y="61"/>
                    <a:pt x="8" y="59"/>
                  </a:cubicBezTo>
                  <a:cubicBezTo>
                    <a:pt x="9" y="58"/>
                    <a:pt x="10" y="57"/>
                    <a:pt x="11" y="57"/>
                  </a:cubicBezTo>
                  <a:lnTo>
                    <a:pt x="106" y="28"/>
                  </a:lnTo>
                  <a:close/>
                  <a:moveTo>
                    <a:pt x="3" y="35"/>
                  </a:moveTo>
                  <a:cubicBezTo>
                    <a:pt x="4" y="40"/>
                    <a:pt x="9" y="43"/>
                    <a:pt x="14" y="43"/>
                  </a:cubicBezTo>
                  <a:cubicBezTo>
                    <a:pt x="15" y="43"/>
                    <a:pt x="16" y="43"/>
                    <a:pt x="17" y="43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72" y="26"/>
                    <a:pt x="76" y="19"/>
                    <a:pt x="74" y="13"/>
                  </a:cubicBezTo>
                  <a:cubicBezTo>
                    <a:pt x="73" y="10"/>
                    <a:pt x="73" y="10"/>
                    <a:pt x="73" y="10"/>
                  </a:cubicBezTo>
                  <a:cubicBezTo>
                    <a:pt x="71" y="4"/>
                    <a:pt x="65" y="0"/>
                    <a:pt x="59" y="2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3" y="19"/>
                    <a:pt x="0" y="25"/>
                    <a:pt x="2" y="31"/>
                  </a:cubicBezTo>
                  <a:lnTo>
                    <a:pt x="3" y="35"/>
                  </a:lnTo>
                  <a:close/>
                  <a:moveTo>
                    <a:pt x="11" y="23"/>
                  </a:moveTo>
                  <a:cubicBezTo>
                    <a:pt x="61" y="8"/>
                    <a:pt x="61" y="8"/>
                    <a:pt x="61" y="8"/>
                  </a:cubicBezTo>
                  <a:cubicBezTo>
                    <a:pt x="61" y="8"/>
                    <a:pt x="62" y="8"/>
                    <a:pt x="62" y="8"/>
                  </a:cubicBezTo>
                  <a:cubicBezTo>
                    <a:pt x="64" y="8"/>
                    <a:pt x="67" y="9"/>
                    <a:pt x="67" y="12"/>
                  </a:cubicBezTo>
                  <a:cubicBezTo>
                    <a:pt x="68" y="15"/>
                    <a:pt x="68" y="15"/>
                    <a:pt x="68" y="15"/>
                  </a:cubicBezTo>
                  <a:cubicBezTo>
                    <a:pt x="69" y="18"/>
                    <a:pt x="68" y="21"/>
                    <a:pt x="65" y="22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7"/>
                    <a:pt x="14" y="37"/>
                    <a:pt x="14" y="37"/>
                  </a:cubicBezTo>
                  <a:cubicBezTo>
                    <a:pt x="11" y="37"/>
                    <a:pt x="9" y="36"/>
                    <a:pt x="9" y="33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27"/>
                    <a:pt x="8" y="24"/>
                    <a:pt x="11" y="23"/>
                  </a:cubicBezTo>
                  <a:close/>
                  <a:moveTo>
                    <a:pt x="120" y="101"/>
                  </a:moveTo>
                  <a:cubicBezTo>
                    <a:pt x="119" y="97"/>
                    <a:pt x="119" y="97"/>
                    <a:pt x="119" y="97"/>
                  </a:cubicBezTo>
                  <a:cubicBezTo>
                    <a:pt x="117" y="92"/>
                    <a:pt x="110" y="88"/>
                    <a:pt x="105" y="90"/>
                  </a:cubicBezTo>
                  <a:cubicBezTo>
                    <a:pt x="82" y="96"/>
                    <a:pt x="82" y="96"/>
                    <a:pt x="82" y="96"/>
                  </a:cubicBezTo>
                  <a:cubicBezTo>
                    <a:pt x="76" y="98"/>
                    <a:pt x="72" y="104"/>
                    <a:pt x="72" y="110"/>
                  </a:cubicBezTo>
                  <a:cubicBezTo>
                    <a:pt x="72" y="138"/>
                    <a:pt x="72" y="138"/>
                    <a:pt x="72" y="138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5" y="106"/>
                    <a:pt x="55" y="106"/>
                    <a:pt x="55" y="106"/>
                  </a:cubicBezTo>
                  <a:cubicBezTo>
                    <a:pt x="55" y="104"/>
                    <a:pt x="54" y="101"/>
                    <a:pt x="53" y="99"/>
                  </a:cubicBezTo>
                  <a:cubicBezTo>
                    <a:pt x="112" y="82"/>
                    <a:pt x="112" y="82"/>
                    <a:pt x="112" y="82"/>
                  </a:cubicBezTo>
                  <a:cubicBezTo>
                    <a:pt x="115" y="81"/>
                    <a:pt x="118" y="79"/>
                    <a:pt x="119" y="76"/>
                  </a:cubicBezTo>
                  <a:cubicBezTo>
                    <a:pt x="120" y="73"/>
                    <a:pt x="121" y="70"/>
                    <a:pt x="120" y="67"/>
                  </a:cubicBezTo>
                  <a:cubicBezTo>
                    <a:pt x="119" y="64"/>
                    <a:pt x="119" y="64"/>
                    <a:pt x="119" y="64"/>
                  </a:cubicBezTo>
                  <a:cubicBezTo>
                    <a:pt x="117" y="58"/>
                    <a:pt x="110" y="54"/>
                    <a:pt x="105" y="5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6" y="86"/>
                    <a:pt x="4" y="88"/>
                    <a:pt x="3" y="90"/>
                  </a:cubicBezTo>
                  <a:cubicBezTo>
                    <a:pt x="1" y="92"/>
                    <a:pt x="1" y="95"/>
                    <a:pt x="1" y="97"/>
                  </a:cubicBezTo>
                  <a:cubicBezTo>
                    <a:pt x="2" y="98"/>
                    <a:pt x="2" y="98"/>
                    <a:pt x="2" y="99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4" y="106"/>
                    <a:pt x="7" y="109"/>
                    <a:pt x="10" y="110"/>
                  </a:cubicBezTo>
                  <a:cubicBezTo>
                    <a:pt x="11" y="110"/>
                    <a:pt x="11" y="110"/>
                    <a:pt x="11" y="110"/>
                  </a:cubicBezTo>
                  <a:cubicBezTo>
                    <a:pt x="23" y="113"/>
                    <a:pt x="23" y="113"/>
                    <a:pt x="23" y="113"/>
                  </a:cubicBezTo>
                  <a:cubicBezTo>
                    <a:pt x="26" y="114"/>
                    <a:pt x="28" y="118"/>
                    <a:pt x="28" y="121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17" y="138"/>
                    <a:pt x="17" y="138"/>
                    <a:pt x="17" y="138"/>
                  </a:cubicBezTo>
                  <a:cubicBezTo>
                    <a:pt x="17" y="187"/>
                    <a:pt x="17" y="187"/>
                    <a:pt x="17" y="187"/>
                  </a:cubicBezTo>
                  <a:cubicBezTo>
                    <a:pt x="17" y="199"/>
                    <a:pt x="28" y="208"/>
                    <a:pt x="40" y="209"/>
                  </a:cubicBezTo>
                  <a:cubicBezTo>
                    <a:pt x="40" y="214"/>
                    <a:pt x="40" y="214"/>
                    <a:pt x="40" y="214"/>
                  </a:cubicBezTo>
                  <a:cubicBezTo>
                    <a:pt x="40" y="220"/>
                    <a:pt x="46" y="225"/>
                    <a:pt x="53" y="225"/>
                  </a:cubicBezTo>
                  <a:cubicBezTo>
                    <a:pt x="74" y="225"/>
                    <a:pt x="74" y="225"/>
                    <a:pt x="74" y="225"/>
                  </a:cubicBezTo>
                  <a:cubicBezTo>
                    <a:pt x="81" y="225"/>
                    <a:pt x="87" y="220"/>
                    <a:pt x="87" y="214"/>
                  </a:cubicBezTo>
                  <a:cubicBezTo>
                    <a:pt x="87" y="209"/>
                    <a:pt x="87" y="209"/>
                    <a:pt x="87" y="209"/>
                  </a:cubicBezTo>
                  <a:cubicBezTo>
                    <a:pt x="99" y="208"/>
                    <a:pt x="110" y="199"/>
                    <a:pt x="110" y="187"/>
                  </a:cubicBezTo>
                  <a:cubicBezTo>
                    <a:pt x="110" y="138"/>
                    <a:pt x="110" y="138"/>
                    <a:pt x="110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99" y="125"/>
                    <a:pt x="99" y="125"/>
                    <a:pt x="99" y="125"/>
                  </a:cubicBezTo>
                  <a:cubicBezTo>
                    <a:pt x="99" y="122"/>
                    <a:pt x="101" y="118"/>
                    <a:pt x="104" y="117"/>
                  </a:cubicBezTo>
                  <a:cubicBezTo>
                    <a:pt x="112" y="115"/>
                    <a:pt x="112" y="115"/>
                    <a:pt x="112" y="115"/>
                  </a:cubicBezTo>
                  <a:cubicBezTo>
                    <a:pt x="118" y="113"/>
                    <a:pt x="122" y="107"/>
                    <a:pt x="120" y="101"/>
                  </a:cubicBezTo>
                  <a:close/>
                  <a:moveTo>
                    <a:pt x="43" y="98"/>
                  </a:moveTo>
                  <a:cubicBezTo>
                    <a:pt x="45" y="99"/>
                    <a:pt x="46" y="100"/>
                    <a:pt x="47" y="101"/>
                  </a:cubicBezTo>
                  <a:cubicBezTo>
                    <a:pt x="48" y="103"/>
                    <a:pt x="49" y="104"/>
                    <a:pt x="49" y="106"/>
                  </a:cubicBezTo>
                  <a:cubicBezTo>
                    <a:pt x="49" y="138"/>
                    <a:pt x="49" y="138"/>
                    <a:pt x="49" y="138"/>
                  </a:cubicBezTo>
                  <a:cubicBezTo>
                    <a:pt x="35" y="138"/>
                    <a:pt x="35" y="138"/>
                    <a:pt x="35" y="138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16"/>
                    <a:pt x="30" y="110"/>
                    <a:pt x="25" y="108"/>
                  </a:cubicBezTo>
                  <a:cubicBezTo>
                    <a:pt x="25" y="108"/>
                    <a:pt x="24" y="108"/>
                    <a:pt x="24" y="108"/>
                  </a:cubicBezTo>
                  <a:cubicBezTo>
                    <a:pt x="13" y="104"/>
                    <a:pt x="13" y="104"/>
                    <a:pt x="13" y="104"/>
                  </a:cubicBezTo>
                  <a:cubicBezTo>
                    <a:pt x="12" y="104"/>
                    <a:pt x="12" y="104"/>
                    <a:pt x="12" y="104"/>
                  </a:cubicBezTo>
                  <a:cubicBezTo>
                    <a:pt x="10" y="104"/>
                    <a:pt x="9" y="102"/>
                    <a:pt x="9" y="101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7" y="96"/>
                    <a:pt x="7" y="94"/>
                    <a:pt x="8" y="93"/>
                  </a:cubicBezTo>
                  <a:cubicBezTo>
                    <a:pt x="9" y="92"/>
                    <a:pt x="10" y="91"/>
                    <a:pt x="11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24" y="86"/>
                    <a:pt x="24" y="86"/>
                    <a:pt x="24" y="86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7" y="62"/>
                    <a:pt x="107" y="62"/>
                    <a:pt x="108" y="62"/>
                  </a:cubicBezTo>
                  <a:cubicBezTo>
                    <a:pt x="110" y="62"/>
                    <a:pt x="112" y="63"/>
                    <a:pt x="113" y="66"/>
                  </a:cubicBezTo>
                  <a:cubicBezTo>
                    <a:pt x="114" y="69"/>
                    <a:pt x="114" y="69"/>
                    <a:pt x="114" y="69"/>
                  </a:cubicBezTo>
                  <a:cubicBezTo>
                    <a:pt x="115" y="71"/>
                    <a:pt x="114" y="72"/>
                    <a:pt x="114" y="73"/>
                  </a:cubicBezTo>
                  <a:cubicBezTo>
                    <a:pt x="113" y="74"/>
                    <a:pt x="112" y="75"/>
                    <a:pt x="111" y="76"/>
                  </a:cubicBezTo>
                  <a:cubicBezTo>
                    <a:pt x="49" y="94"/>
                    <a:pt x="49" y="94"/>
                    <a:pt x="49" y="94"/>
                  </a:cubicBezTo>
                  <a:cubicBezTo>
                    <a:pt x="39" y="97"/>
                    <a:pt x="43" y="98"/>
                    <a:pt x="43" y="98"/>
                  </a:cubicBezTo>
                  <a:close/>
                  <a:moveTo>
                    <a:pt x="111" y="109"/>
                  </a:moveTo>
                  <a:cubicBezTo>
                    <a:pt x="103" y="111"/>
                    <a:pt x="103" y="111"/>
                    <a:pt x="103" y="111"/>
                  </a:cubicBezTo>
                  <a:cubicBezTo>
                    <a:pt x="97" y="113"/>
                    <a:pt x="92" y="119"/>
                    <a:pt x="92" y="125"/>
                  </a:cubicBezTo>
                  <a:cubicBezTo>
                    <a:pt x="92" y="138"/>
                    <a:pt x="92" y="138"/>
                    <a:pt x="92" y="138"/>
                  </a:cubicBezTo>
                  <a:cubicBezTo>
                    <a:pt x="78" y="138"/>
                    <a:pt x="78" y="138"/>
                    <a:pt x="78" y="138"/>
                  </a:cubicBezTo>
                  <a:cubicBezTo>
                    <a:pt x="78" y="110"/>
                    <a:pt x="78" y="110"/>
                    <a:pt x="78" y="110"/>
                  </a:cubicBezTo>
                  <a:cubicBezTo>
                    <a:pt x="78" y="107"/>
                    <a:pt x="81" y="103"/>
                    <a:pt x="84" y="102"/>
                  </a:cubicBezTo>
                  <a:cubicBezTo>
                    <a:pt x="106" y="96"/>
                    <a:pt x="106" y="96"/>
                    <a:pt x="106" y="96"/>
                  </a:cubicBezTo>
                  <a:cubicBezTo>
                    <a:pt x="109" y="95"/>
                    <a:pt x="112" y="96"/>
                    <a:pt x="113" y="99"/>
                  </a:cubicBezTo>
                  <a:cubicBezTo>
                    <a:pt x="114" y="103"/>
                    <a:pt x="114" y="103"/>
                    <a:pt x="114" y="103"/>
                  </a:cubicBezTo>
                  <a:cubicBezTo>
                    <a:pt x="115" y="106"/>
                    <a:pt x="113" y="109"/>
                    <a:pt x="111" y="10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grpSp>
        <p:nvGrpSpPr>
          <p:cNvPr id="17" name="Green Tile"/>
          <p:cNvGrpSpPr>
            <a:grpSpLocks/>
          </p:cNvGrpSpPr>
          <p:nvPr userDrawn="1"/>
        </p:nvGrpSpPr>
        <p:grpSpPr bwMode="auto">
          <a:xfrm>
            <a:off x="1885950" y="4683125"/>
            <a:ext cx="995363" cy="1325563"/>
            <a:chOff x="2514069" y="4682828"/>
            <a:chExt cx="1325880" cy="1325880"/>
          </a:xfrm>
        </p:grpSpPr>
        <p:sp>
          <p:nvSpPr>
            <p:cNvPr id="18" name="Rectangle 40"/>
            <p:cNvSpPr/>
            <p:nvPr/>
          </p:nvSpPr>
          <p:spPr bwMode="auto">
            <a:xfrm>
              <a:off x="2514069" y="4682828"/>
              <a:ext cx="1325880" cy="1325880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9" name="Freeform 73"/>
            <p:cNvSpPr>
              <a:spLocks noEditPoints="1"/>
            </p:cNvSpPr>
            <p:nvPr userDrawn="1"/>
          </p:nvSpPr>
          <p:spPr bwMode="auto">
            <a:xfrm>
              <a:off x="2757463" y="5062311"/>
              <a:ext cx="839092" cy="702557"/>
            </a:xfrm>
            <a:custGeom>
              <a:avLst/>
              <a:gdLst>
                <a:gd name="T0" fmla="*/ 2147483646 w 411"/>
                <a:gd name="T1" fmla="*/ 2147483646 h 344"/>
                <a:gd name="T2" fmla="*/ 2147483646 w 411"/>
                <a:gd name="T3" fmla="*/ 2147483646 h 344"/>
                <a:gd name="T4" fmla="*/ 2147483646 w 411"/>
                <a:gd name="T5" fmla="*/ 2147483646 h 344"/>
                <a:gd name="T6" fmla="*/ 2147483646 w 411"/>
                <a:gd name="T7" fmla="*/ 2147483646 h 344"/>
                <a:gd name="T8" fmla="*/ 0 w 411"/>
                <a:gd name="T9" fmla="*/ 2147483646 h 344"/>
                <a:gd name="T10" fmla="*/ 0 w 411"/>
                <a:gd name="T11" fmla="*/ 2147483646 h 344"/>
                <a:gd name="T12" fmla="*/ 2147483646 w 411"/>
                <a:gd name="T13" fmla="*/ 0 h 344"/>
                <a:gd name="T14" fmla="*/ 2147483646 w 411"/>
                <a:gd name="T15" fmla="*/ 0 h 344"/>
                <a:gd name="T16" fmla="*/ 2147483646 w 411"/>
                <a:gd name="T17" fmla="*/ 2147483646 h 344"/>
                <a:gd name="T18" fmla="*/ 2147483646 w 411"/>
                <a:gd name="T19" fmla="*/ 2147483646 h 344"/>
                <a:gd name="T20" fmla="*/ 2147483646 w 411"/>
                <a:gd name="T21" fmla="*/ 2147483646 h 344"/>
                <a:gd name="T22" fmla="*/ 2147483646 w 411"/>
                <a:gd name="T23" fmla="*/ 2147483646 h 344"/>
                <a:gd name="T24" fmla="*/ 2147483646 w 411"/>
                <a:gd name="T25" fmla="*/ 2147483646 h 344"/>
                <a:gd name="T26" fmla="*/ 2147483646 w 411"/>
                <a:gd name="T27" fmla="*/ 2147483646 h 344"/>
                <a:gd name="T28" fmla="*/ 2147483646 w 411"/>
                <a:gd name="T29" fmla="*/ 2147483646 h 344"/>
                <a:gd name="T30" fmla="*/ 2147483646 w 411"/>
                <a:gd name="T31" fmla="*/ 2147483646 h 344"/>
                <a:gd name="T32" fmla="*/ 2147483646 w 411"/>
                <a:gd name="T33" fmla="*/ 2147483646 h 344"/>
                <a:gd name="T34" fmla="*/ 2147483646 w 411"/>
                <a:gd name="T35" fmla="*/ 2147483646 h 344"/>
                <a:gd name="T36" fmla="*/ 2147483646 w 411"/>
                <a:gd name="T37" fmla="*/ 2147483646 h 344"/>
                <a:gd name="T38" fmla="*/ 2147483646 w 411"/>
                <a:gd name="T39" fmla="*/ 2147483646 h 344"/>
                <a:gd name="T40" fmla="*/ 2147483646 w 411"/>
                <a:gd name="T41" fmla="*/ 2147483646 h 344"/>
                <a:gd name="T42" fmla="*/ 2147483646 w 411"/>
                <a:gd name="T43" fmla="*/ 2147483646 h 344"/>
                <a:gd name="T44" fmla="*/ 2147483646 w 411"/>
                <a:gd name="T45" fmla="*/ 2147483646 h 344"/>
                <a:gd name="T46" fmla="*/ 2147483646 w 411"/>
                <a:gd name="T47" fmla="*/ 2147483646 h 344"/>
                <a:gd name="T48" fmla="*/ 2147483646 w 411"/>
                <a:gd name="T49" fmla="*/ 2147483646 h 344"/>
                <a:gd name="T50" fmla="*/ 2147483646 w 411"/>
                <a:gd name="T51" fmla="*/ 2147483646 h 344"/>
                <a:gd name="T52" fmla="*/ 2147483646 w 411"/>
                <a:gd name="T53" fmla="*/ 2147483646 h 34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11" h="344">
                  <a:moveTo>
                    <a:pt x="339" y="344"/>
                  </a:moveTo>
                  <a:cubicBezTo>
                    <a:pt x="337" y="344"/>
                    <a:pt x="336" y="343"/>
                    <a:pt x="334" y="342"/>
                  </a:cubicBezTo>
                  <a:cubicBezTo>
                    <a:pt x="270" y="277"/>
                    <a:pt x="270" y="277"/>
                    <a:pt x="270" y="277"/>
                  </a:cubicBezTo>
                  <a:cubicBezTo>
                    <a:pt x="74" y="277"/>
                    <a:pt x="74" y="277"/>
                    <a:pt x="74" y="277"/>
                  </a:cubicBezTo>
                  <a:cubicBezTo>
                    <a:pt x="33" y="277"/>
                    <a:pt x="0" y="244"/>
                    <a:pt x="0" y="20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33"/>
                    <a:pt x="33" y="0"/>
                    <a:pt x="74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378" y="0"/>
                    <a:pt x="411" y="33"/>
                    <a:pt x="411" y="74"/>
                  </a:cubicBezTo>
                  <a:cubicBezTo>
                    <a:pt x="411" y="203"/>
                    <a:pt x="411" y="203"/>
                    <a:pt x="411" y="203"/>
                  </a:cubicBezTo>
                  <a:cubicBezTo>
                    <a:pt x="411" y="242"/>
                    <a:pt x="384" y="273"/>
                    <a:pt x="347" y="277"/>
                  </a:cubicBezTo>
                  <a:cubicBezTo>
                    <a:pt x="347" y="337"/>
                    <a:pt x="347" y="337"/>
                    <a:pt x="347" y="337"/>
                  </a:cubicBezTo>
                  <a:cubicBezTo>
                    <a:pt x="347" y="340"/>
                    <a:pt x="345" y="342"/>
                    <a:pt x="342" y="344"/>
                  </a:cubicBezTo>
                  <a:cubicBezTo>
                    <a:pt x="341" y="344"/>
                    <a:pt x="340" y="344"/>
                    <a:pt x="339" y="344"/>
                  </a:cubicBezTo>
                  <a:close/>
                  <a:moveTo>
                    <a:pt x="74" y="15"/>
                  </a:moveTo>
                  <a:cubicBezTo>
                    <a:pt x="41" y="15"/>
                    <a:pt x="14" y="41"/>
                    <a:pt x="14" y="74"/>
                  </a:cubicBezTo>
                  <a:cubicBezTo>
                    <a:pt x="14" y="203"/>
                    <a:pt x="14" y="203"/>
                    <a:pt x="14" y="203"/>
                  </a:cubicBezTo>
                  <a:cubicBezTo>
                    <a:pt x="14" y="236"/>
                    <a:pt x="41" y="262"/>
                    <a:pt x="74" y="262"/>
                  </a:cubicBezTo>
                  <a:cubicBezTo>
                    <a:pt x="273" y="262"/>
                    <a:pt x="273" y="262"/>
                    <a:pt x="273" y="262"/>
                  </a:cubicBezTo>
                  <a:cubicBezTo>
                    <a:pt x="275" y="262"/>
                    <a:pt x="277" y="263"/>
                    <a:pt x="278" y="264"/>
                  </a:cubicBezTo>
                  <a:cubicBezTo>
                    <a:pt x="332" y="319"/>
                    <a:pt x="332" y="319"/>
                    <a:pt x="332" y="319"/>
                  </a:cubicBezTo>
                  <a:cubicBezTo>
                    <a:pt x="332" y="270"/>
                    <a:pt x="332" y="270"/>
                    <a:pt x="332" y="270"/>
                  </a:cubicBezTo>
                  <a:cubicBezTo>
                    <a:pt x="332" y="266"/>
                    <a:pt x="335" y="262"/>
                    <a:pt x="339" y="262"/>
                  </a:cubicBezTo>
                  <a:cubicBezTo>
                    <a:pt x="371" y="262"/>
                    <a:pt x="397" y="236"/>
                    <a:pt x="397" y="203"/>
                  </a:cubicBezTo>
                  <a:cubicBezTo>
                    <a:pt x="397" y="74"/>
                    <a:pt x="397" y="74"/>
                    <a:pt x="397" y="74"/>
                  </a:cubicBezTo>
                  <a:cubicBezTo>
                    <a:pt x="397" y="41"/>
                    <a:pt x="370" y="15"/>
                    <a:pt x="338" y="15"/>
                  </a:cubicBezTo>
                  <a:lnTo>
                    <a:pt x="74" y="1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 useBgFill="1">
        <p:nvSpPr>
          <p:cNvPr id="20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21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22" name="Bottom Mask"/>
          <p:cNvSpPr/>
          <p:nvPr userDrawn="1"/>
        </p:nvSpPr>
        <p:spPr bwMode="auto">
          <a:xfrm>
            <a:off x="0" y="6010275"/>
            <a:ext cx="9144000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23" name="Subtitle 2"/>
          <p:cNvSpPr txBox="1">
            <a:spLocks/>
          </p:cNvSpPr>
          <p:nvPr userDrawn="1"/>
        </p:nvSpPr>
        <p:spPr>
          <a:xfrm>
            <a:off x="1150938" y="1920875"/>
            <a:ext cx="1574800" cy="461963"/>
          </a:xfrm>
          <a:prstGeom prst="rect">
            <a:avLst/>
          </a:prstGeom>
        </p:spPr>
        <p:txBody>
          <a:bodyPr lIns="0" tIns="0" rIns="0" bIns="0"/>
          <a:lstStyle>
            <a:lvl1pPr marL="0" indent="0" algn="dist" defTabSz="685487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400" b="0" kern="1200" dirty="0">
                <a:solidFill>
                  <a:schemeClr val="bg1">
                    <a:alpha val="99000"/>
                  </a:schemeClr>
                </a:solidFill>
                <a:latin typeface="Arial Black" panose="020B0A04020102020204" pitchFamily="34" charset="0"/>
                <a:ea typeface="宋体" panose="02010600030101010101" pitchFamily="2" charset="-122"/>
                <a:cs typeface="Segoe UI" pitchFamily="34" charset="0"/>
              </a:defRPr>
            </a:lvl1pPr>
            <a:lvl2pPr marL="34273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487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22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975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3712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6459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9204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1951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sz="4000" smtClean="0">
                <a:solidFill>
                  <a:srgbClr val="2F95D2"/>
                </a:solidFill>
              </a:rPr>
              <a:t>IHEP</a:t>
            </a:r>
          </a:p>
          <a:p>
            <a:pPr>
              <a:defRPr/>
            </a:pPr>
            <a:endParaRPr/>
          </a:p>
        </p:txBody>
      </p:sp>
      <p:sp>
        <p:nvSpPr>
          <p:cNvPr id="24" name="Subtitle 2"/>
          <p:cNvSpPr txBox="1">
            <a:spLocks/>
          </p:cNvSpPr>
          <p:nvPr userDrawn="1"/>
        </p:nvSpPr>
        <p:spPr>
          <a:xfrm>
            <a:off x="2022475" y="2576513"/>
            <a:ext cx="617538" cy="463550"/>
          </a:xfrm>
          <a:prstGeom prst="rect">
            <a:avLst/>
          </a:prstGeom>
        </p:spPr>
        <p:txBody>
          <a:bodyPr lIns="0" tIns="0" rIns="0" bIns="0"/>
          <a:lstStyle>
            <a:lvl1pPr marL="0" indent="0" algn="dist" defTabSz="685487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400" b="0" kern="1200" dirty="0">
                <a:solidFill>
                  <a:schemeClr val="bg1">
                    <a:alpha val="99000"/>
                  </a:schemeClr>
                </a:solidFill>
                <a:latin typeface="Arial Black" panose="020B0A04020102020204" pitchFamily="34" charset="0"/>
                <a:ea typeface="宋体" panose="02010600030101010101" pitchFamily="2" charset="-122"/>
                <a:cs typeface="Segoe UI" pitchFamily="34" charset="0"/>
              </a:defRPr>
            </a:lvl1pPr>
            <a:lvl2pPr marL="34273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487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22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975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3712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6459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9204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1951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smtClean="0">
                <a:solidFill>
                  <a:srgbClr val="2F95D2">
                    <a:alpha val="99000"/>
                  </a:srgbClr>
                </a:solidFill>
              </a:rPr>
              <a:t>2013</a:t>
            </a:r>
          </a:p>
          <a:p>
            <a:pPr>
              <a:defRPr/>
            </a:pPr>
            <a:endParaRPr/>
          </a:p>
        </p:txBody>
      </p:sp>
      <p:pic>
        <p:nvPicPr>
          <p:cNvPr id="25" name="图片 2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6163" y="1763713"/>
            <a:ext cx="765175" cy="1001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Subtitle 2"/>
          <p:cNvSpPr txBox="1">
            <a:spLocks/>
          </p:cNvSpPr>
          <p:nvPr userDrawn="1"/>
        </p:nvSpPr>
        <p:spPr>
          <a:xfrm>
            <a:off x="1162050" y="1638300"/>
            <a:ext cx="617538" cy="461963"/>
          </a:xfrm>
          <a:prstGeom prst="rect">
            <a:avLst/>
          </a:prstGeom>
        </p:spPr>
        <p:txBody>
          <a:bodyPr lIns="0" tIns="0" rIns="0" bIns="0"/>
          <a:lstStyle>
            <a:lvl1pPr marL="0" indent="0" algn="dist" defTabSz="685487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400" b="0" kern="1200" dirty="0">
                <a:solidFill>
                  <a:schemeClr val="bg1">
                    <a:alpha val="99000"/>
                  </a:schemeClr>
                </a:solidFill>
                <a:latin typeface="Arial Black" panose="020B0A04020102020204" pitchFamily="34" charset="0"/>
                <a:ea typeface="宋体" panose="02010600030101010101" pitchFamily="2" charset="-122"/>
                <a:cs typeface="Segoe UI" pitchFamily="34" charset="0"/>
              </a:defRPr>
            </a:lvl1pPr>
            <a:lvl2pPr marL="34273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2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487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28229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70975" indent="0" algn="ctr" defTabSz="685487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Tx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713712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56459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399204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1951" indent="0" algn="ctr" defTabSz="68548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defRPr/>
            </a:pPr>
            <a:r>
              <a:rPr sz="1600" smtClean="0">
                <a:solidFill>
                  <a:srgbClr val="737373"/>
                </a:solidFill>
              </a:rPr>
              <a:t>CAS</a:t>
            </a:r>
          </a:p>
          <a:p>
            <a:pPr>
              <a:defRPr/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6911" y="3231975"/>
            <a:ext cx="5040039" cy="1232464"/>
          </a:xfrm>
        </p:spPr>
        <p:txBody>
          <a:bodyPr anchor="ctr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951452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9436" y="1447818"/>
            <a:ext cx="4115872" cy="1323439"/>
          </a:xfrm>
        </p:spPr>
        <p:txBody>
          <a:bodyPr/>
          <a:lstStyle>
            <a:lvl1pPr marL="254864" indent="-254864">
              <a:lnSpc>
                <a:spcPct val="90000"/>
              </a:lnSpc>
              <a:defRPr sz="2100"/>
            </a:lvl1pPr>
            <a:lvl2pPr marL="504770" indent="-243957">
              <a:lnSpc>
                <a:spcPct val="90000"/>
              </a:lnSpc>
              <a:defRPr sz="1800"/>
            </a:lvl2pPr>
            <a:lvl3pPr marL="715003" indent="-216188">
              <a:lnSpc>
                <a:spcPct val="90000"/>
              </a:lnSpc>
              <a:defRPr sz="1500"/>
            </a:lvl3pPr>
            <a:lvl4pPr marL="920280" indent="-205275">
              <a:lnSpc>
                <a:spcPct val="90000"/>
              </a:lnSpc>
              <a:defRPr sz="1400"/>
            </a:lvl4pPr>
            <a:lvl5pPr marL="1136466" indent="-210236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7503" y="1447818"/>
            <a:ext cx="4115872" cy="1323439"/>
          </a:xfrm>
        </p:spPr>
        <p:txBody>
          <a:bodyPr/>
          <a:lstStyle>
            <a:lvl1pPr marL="260813" indent="-260813">
              <a:lnSpc>
                <a:spcPct val="90000"/>
              </a:lnSpc>
              <a:defRPr sz="2100"/>
            </a:lvl1pPr>
            <a:lvl2pPr marL="504770" indent="-254864">
              <a:lnSpc>
                <a:spcPct val="90000"/>
              </a:lnSpc>
              <a:defRPr sz="1800"/>
            </a:lvl2pPr>
            <a:lvl3pPr marL="720957" indent="-227101">
              <a:lnSpc>
                <a:spcPct val="90000"/>
              </a:lnSpc>
              <a:defRPr sz="1500"/>
            </a:lvl3pPr>
            <a:lvl4pPr marL="920280" indent="-199322">
              <a:lnSpc>
                <a:spcPct val="90000"/>
              </a:lnSpc>
              <a:defRPr sz="1400"/>
            </a:lvl4pPr>
            <a:lvl5pPr marL="1136466" indent="-205275">
              <a:lnSpc>
                <a:spcPct val="90000"/>
              </a:lnSpc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95271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9436" y="1494672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722" indent="0">
              <a:buNone/>
              <a:defRPr sz="1500" b="1"/>
            </a:lvl2pPr>
            <a:lvl3pPr marL="685454" indent="0">
              <a:buNone/>
              <a:defRPr sz="1400" b="1"/>
            </a:lvl3pPr>
            <a:lvl4pPr marL="1028178" indent="0">
              <a:buNone/>
              <a:defRPr sz="1200" b="1"/>
            </a:lvl4pPr>
            <a:lvl5pPr marL="1370906" indent="0">
              <a:buNone/>
              <a:defRPr sz="1200" b="1"/>
            </a:lvl5pPr>
            <a:lvl6pPr marL="1713626" indent="0">
              <a:buNone/>
              <a:defRPr sz="1200" b="1"/>
            </a:lvl6pPr>
            <a:lvl7pPr marL="2056355" indent="0">
              <a:buNone/>
              <a:defRPr sz="1200" b="1"/>
            </a:lvl7pPr>
            <a:lvl8pPr marL="2399084" indent="0">
              <a:buNone/>
              <a:defRPr sz="1200" b="1"/>
            </a:lvl8pPr>
            <a:lvl9pPr marL="274181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1001" y="2133622"/>
            <a:ext cx="4114800" cy="1166473"/>
          </a:xfrm>
        </p:spPr>
        <p:txBody>
          <a:bodyPr/>
          <a:lstStyle>
            <a:lvl1pPr marL="211228" indent="-211228">
              <a:defRPr sz="1700"/>
            </a:lvl1pPr>
            <a:lvl2pPr marL="421463" indent="-199322">
              <a:defRPr sz="1500"/>
            </a:lvl2pPr>
            <a:lvl3pPr marL="609887" indent="-182470">
              <a:defRPr sz="1400"/>
            </a:lvl3pPr>
            <a:lvl4pPr marL="787396" indent="-171564">
              <a:defRPr sz="1300"/>
            </a:lvl4pPr>
            <a:lvl5pPr marL="958960" indent="-154707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37503" y="1494672"/>
            <a:ext cx="4115872" cy="2631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900" b="1"/>
            </a:lvl1pPr>
            <a:lvl2pPr marL="342722" indent="0">
              <a:buNone/>
              <a:defRPr sz="1500" b="1"/>
            </a:lvl2pPr>
            <a:lvl3pPr marL="685454" indent="0">
              <a:buNone/>
              <a:defRPr sz="1400" b="1"/>
            </a:lvl3pPr>
            <a:lvl4pPr marL="1028178" indent="0">
              <a:buNone/>
              <a:defRPr sz="1200" b="1"/>
            </a:lvl4pPr>
            <a:lvl5pPr marL="1370906" indent="0">
              <a:buNone/>
              <a:defRPr sz="1200" b="1"/>
            </a:lvl5pPr>
            <a:lvl6pPr marL="1713626" indent="0">
              <a:buNone/>
              <a:defRPr sz="1200" b="1"/>
            </a:lvl6pPr>
            <a:lvl7pPr marL="2056355" indent="0">
              <a:buNone/>
              <a:defRPr sz="1200" b="1"/>
            </a:lvl7pPr>
            <a:lvl8pPr marL="2399084" indent="0">
              <a:buNone/>
              <a:defRPr sz="1200" b="1"/>
            </a:lvl8pPr>
            <a:lvl9pPr marL="2741814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7503" y="2133610"/>
            <a:ext cx="4115872" cy="1166473"/>
          </a:xfrm>
        </p:spPr>
        <p:txBody>
          <a:bodyPr/>
          <a:lstStyle>
            <a:lvl1pPr marL="222140" indent="-222140">
              <a:defRPr sz="1700"/>
            </a:lvl1pPr>
            <a:lvl2pPr marL="427415" indent="-205275">
              <a:defRPr sz="1500"/>
            </a:lvl2pPr>
            <a:lvl3pPr marL="615838" indent="-183462">
              <a:defRPr sz="1400"/>
            </a:lvl3pPr>
            <a:lvl4pPr marL="787396" indent="-177513">
              <a:defRPr sz="1300"/>
            </a:lvl4pPr>
            <a:lvl5pPr marL="958960" indent="-165611">
              <a:defRPr sz="13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104983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17611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4570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 - Prints in GRAYSCALE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337667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16789" y="1198565"/>
            <a:ext cx="8550915" cy="1218282"/>
          </a:xfrm>
        </p:spPr>
        <p:txBody>
          <a:bodyPr/>
          <a:lstStyle>
            <a:lvl1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1pPr>
            <a:lvl2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2pPr>
            <a:lvl3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3pPr>
            <a:lvl4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4pPr>
            <a:lvl5pPr marL="0" indent="0" algn="l">
              <a:lnSpc>
                <a:spcPts val="1875"/>
              </a:lnSpc>
              <a:spcBef>
                <a:spcPts val="0"/>
              </a:spcBef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16789" y="436421"/>
            <a:ext cx="8550915" cy="360099"/>
          </a:xfrm>
        </p:spPr>
        <p:txBody>
          <a:bodyPr/>
          <a:lstStyle>
            <a:lvl1pPr algn="l" defTabSz="68572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00" b="0" kern="1200" cap="none" spc="0" baseline="0" dirty="0">
                <a:ln w="3175">
                  <a:noFill/>
                </a:ln>
                <a:solidFill>
                  <a:schemeClr val="tx2">
                    <a:alpha val="99000"/>
                  </a:schemeClr>
                </a:solidFill>
                <a:effectLst/>
                <a:latin typeface="Segoe UI Light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91387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49" y="228611"/>
            <a:ext cx="8363939" cy="45704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49" y="1447800"/>
            <a:ext cx="8363939" cy="708741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675"/>
              </a:spcAft>
              <a:buNone/>
              <a:defRPr sz="3000" spc="-75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300"/>
              </a:spcAft>
              <a:buNone/>
              <a:defRPr sz="1500" spc="-37" baseline="0">
                <a:gradFill flip="none" rotWithShape="1">
                  <a:gsLst>
                    <a:gs pos="0">
                      <a:schemeClr val="tx1">
                        <a:lumMod val="75000"/>
                      </a:schemeClr>
                    </a:gs>
                    <a:gs pos="86000">
                      <a:schemeClr val="tx1">
                        <a:lumMod val="7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defRPr>
            </a:lvl2pPr>
            <a:lvl3pPr marL="0" indent="0">
              <a:spcBef>
                <a:spcPts val="0"/>
              </a:spcBef>
              <a:spcAft>
                <a:spcPts val="300"/>
              </a:spcAft>
              <a:buNone/>
              <a:defRPr sz="1500"/>
            </a:lvl3pPr>
            <a:lvl4pPr marL="0" indent="0">
              <a:spcBef>
                <a:spcPts val="0"/>
              </a:spcBef>
              <a:spcAft>
                <a:spcPts val="3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300"/>
              </a:spcAft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935342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40"/>
          <p:cNvSpPr>
            <a:spLocks/>
          </p:cNvSpPr>
          <p:nvPr/>
        </p:nvSpPr>
        <p:spPr bwMode="gray">
          <a:xfrm>
            <a:off x="0" y="6048375"/>
            <a:ext cx="2762250" cy="809625"/>
          </a:xfrm>
          <a:custGeom>
            <a:avLst/>
            <a:gdLst>
              <a:gd name="T0" fmla="*/ 0 w 1740"/>
              <a:gd name="T1" fmla="*/ 0 h 510"/>
              <a:gd name="T2" fmla="*/ 0 w 1740"/>
              <a:gd name="T3" fmla="*/ 1285279688 h 510"/>
              <a:gd name="T4" fmla="*/ 2147483646 w 1740"/>
              <a:gd name="T5" fmla="*/ 1285279688 h 510"/>
              <a:gd name="T6" fmla="*/ 2147483646 w 1740"/>
              <a:gd name="T7" fmla="*/ 75604688 h 510"/>
              <a:gd name="T8" fmla="*/ 0 w 1740"/>
              <a:gd name="T9" fmla="*/ 0 h 5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40" h="510">
                <a:moveTo>
                  <a:pt x="0" y="0"/>
                </a:moveTo>
                <a:lnTo>
                  <a:pt x="0" y="510"/>
                </a:lnTo>
                <a:cubicBezTo>
                  <a:pt x="0" y="510"/>
                  <a:pt x="870" y="510"/>
                  <a:pt x="1740" y="510"/>
                </a:cubicBezTo>
                <a:cubicBezTo>
                  <a:pt x="1650" y="258"/>
                  <a:pt x="1595" y="30"/>
                  <a:pt x="1595" y="30"/>
                </a:cubicBezTo>
                <a:cubicBezTo>
                  <a:pt x="798" y="54"/>
                  <a:pt x="0" y="0"/>
                  <a:pt x="0" y="0"/>
                </a:cubicBez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5" name="Freeform 41"/>
          <p:cNvSpPr>
            <a:spLocks/>
          </p:cNvSpPr>
          <p:nvPr/>
        </p:nvSpPr>
        <p:spPr bwMode="gray">
          <a:xfrm>
            <a:off x="2590800" y="4705350"/>
            <a:ext cx="6400800" cy="2152650"/>
          </a:xfrm>
          <a:custGeom>
            <a:avLst/>
            <a:gdLst>
              <a:gd name="T0" fmla="*/ 2147483646 w 4032"/>
              <a:gd name="T1" fmla="*/ 0 h 1356"/>
              <a:gd name="T2" fmla="*/ 2147483646 w 4032"/>
              <a:gd name="T3" fmla="*/ 1602819375 h 1356"/>
              <a:gd name="T4" fmla="*/ 2147483646 w 4032"/>
              <a:gd name="T5" fmla="*/ 2147483646 h 1356"/>
              <a:gd name="T6" fmla="*/ 725805000 w 4032"/>
              <a:gd name="T7" fmla="*/ 2147483646 h 1356"/>
              <a:gd name="T8" fmla="*/ 0 w 4032"/>
              <a:gd name="T9" fmla="*/ 2086689375 h 1356"/>
              <a:gd name="T10" fmla="*/ 2147483646 w 4032"/>
              <a:gd name="T11" fmla="*/ 0 h 135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032" h="1356">
                <a:moveTo>
                  <a:pt x="1116" y="0"/>
                </a:moveTo>
                <a:cubicBezTo>
                  <a:pt x="2370" y="1254"/>
                  <a:pt x="3840" y="636"/>
                  <a:pt x="3840" y="636"/>
                </a:cubicBezTo>
                <a:cubicBezTo>
                  <a:pt x="4032" y="966"/>
                  <a:pt x="4032" y="1356"/>
                  <a:pt x="4032" y="1356"/>
                </a:cubicBezTo>
                <a:cubicBezTo>
                  <a:pt x="4032" y="1356"/>
                  <a:pt x="2160" y="1356"/>
                  <a:pt x="288" y="1356"/>
                </a:cubicBezTo>
                <a:cubicBezTo>
                  <a:pt x="120" y="1140"/>
                  <a:pt x="0" y="828"/>
                  <a:pt x="0" y="828"/>
                </a:cubicBezTo>
                <a:lnTo>
                  <a:pt x="1116" y="0"/>
                </a:lnTo>
                <a:close/>
              </a:path>
            </a:pathLst>
          </a:custGeom>
          <a:solidFill>
            <a:schemeClr val="hlink"/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6" name="Freeform 42"/>
          <p:cNvSpPr>
            <a:spLocks/>
          </p:cNvSpPr>
          <p:nvPr/>
        </p:nvSpPr>
        <p:spPr bwMode="gray">
          <a:xfrm>
            <a:off x="4400550" y="781050"/>
            <a:ext cx="4743450" cy="5048250"/>
          </a:xfrm>
          <a:custGeom>
            <a:avLst/>
            <a:gdLst>
              <a:gd name="T0" fmla="*/ 1285279688 w 2988"/>
              <a:gd name="T1" fmla="*/ 2147483646 h 3180"/>
              <a:gd name="T2" fmla="*/ 2147483646 w 2988"/>
              <a:gd name="T3" fmla="*/ 0 h 3180"/>
              <a:gd name="T4" fmla="*/ 2147483646 w 2988"/>
              <a:gd name="T5" fmla="*/ 861893438 h 3180"/>
              <a:gd name="T6" fmla="*/ 2147483646 w 2988"/>
              <a:gd name="T7" fmla="*/ 2147483646 h 3180"/>
              <a:gd name="T8" fmla="*/ 2147483646 w 2988"/>
              <a:gd name="T9" fmla="*/ 2147483646 h 3180"/>
              <a:gd name="T10" fmla="*/ 0 w 2988"/>
              <a:gd name="T11" fmla="*/ 2147483646 h 3180"/>
              <a:gd name="T12" fmla="*/ 1285279688 w 2988"/>
              <a:gd name="T13" fmla="*/ 2147483646 h 318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988" h="3180">
                <a:moveTo>
                  <a:pt x="510" y="1098"/>
                </a:moveTo>
                <a:cubicBezTo>
                  <a:pt x="1710" y="840"/>
                  <a:pt x="2280" y="0"/>
                  <a:pt x="2280" y="0"/>
                </a:cubicBezTo>
                <a:cubicBezTo>
                  <a:pt x="2700" y="96"/>
                  <a:pt x="2988" y="342"/>
                  <a:pt x="2988" y="342"/>
                </a:cubicBezTo>
                <a:lnTo>
                  <a:pt x="2988" y="2772"/>
                </a:lnTo>
                <a:cubicBezTo>
                  <a:pt x="2988" y="2772"/>
                  <a:pt x="2202" y="3180"/>
                  <a:pt x="1452" y="3060"/>
                </a:cubicBezTo>
                <a:cubicBezTo>
                  <a:pt x="636" y="2940"/>
                  <a:pt x="0" y="2406"/>
                  <a:pt x="0" y="2406"/>
                </a:cubicBezTo>
                <a:lnTo>
                  <a:pt x="510" y="1098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7" name="Freeform 43"/>
          <p:cNvSpPr>
            <a:spLocks/>
          </p:cNvSpPr>
          <p:nvPr/>
        </p:nvSpPr>
        <p:spPr bwMode="gray">
          <a:xfrm>
            <a:off x="4800600" y="0"/>
            <a:ext cx="3276600" cy="2409825"/>
          </a:xfrm>
          <a:custGeom>
            <a:avLst/>
            <a:gdLst>
              <a:gd name="T0" fmla="*/ 0 w 2064"/>
              <a:gd name="T1" fmla="*/ 0 h 1518"/>
              <a:gd name="T2" fmla="*/ 695563125 w 2064"/>
              <a:gd name="T3" fmla="*/ 2147483646 h 1518"/>
              <a:gd name="T4" fmla="*/ 2147483646 w 2064"/>
              <a:gd name="T5" fmla="*/ 0 h 1518"/>
              <a:gd name="T6" fmla="*/ 0 w 2064"/>
              <a:gd name="T7" fmla="*/ 0 h 1518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064" h="1518">
                <a:moveTo>
                  <a:pt x="0" y="0"/>
                </a:moveTo>
                <a:cubicBezTo>
                  <a:pt x="0" y="0"/>
                  <a:pt x="138" y="759"/>
                  <a:pt x="276" y="1518"/>
                </a:cubicBezTo>
                <a:cubicBezTo>
                  <a:pt x="1518" y="1194"/>
                  <a:pt x="2064" y="0"/>
                  <a:pt x="2064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8" name="Freeform 79"/>
          <p:cNvSpPr>
            <a:spLocks/>
          </p:cNvSpPr>
          <p:nvPr/>
        </p:nvSpPr>
        <p:spPr bwMode="gray">
          <a:xfrm>
            <a:off x="0" y="0"/>
            <a:ext cx="6583363" cy="7267575"/>
          </a:xfrm>
          <a:custGeom>
            <a:avLst/>
            <a:gdLst>
              <a:gd name="T0" fmla="*/ 0 w 4014"/>
              <a:gd name="T1" fmla="*/ 0 h 4455"/>
              <a:gd name="T2" fmla="*/ 2147483646 w 4014"/>
              <a:gd name="T3" fmla="*/ 0 h 4455"/>
              <a:gd name="T4" fmla="*/ 2147483646 w 4014"/>
              <a:gd name="T5" fmla="*/ 2147483646 h 4455"/>
              <a:gd name="T6" fmla="*/ 0 w 4014"/>
              <a:gd name="T7" fmla="*/ 2147483646 h 4455"/>
              <a:gd name="T8" fmla="*/ 0 w 4014"/>
              <a:gd name="T9" fmla="*/ 0 h 445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014" h="4455">
                <a:moveTo>
                  <a:pt x="0" y="0"/>
                </a:moveTo>
                <a:lnTo>
                  <a:pt x="3612" y="0"/>
                </a:lnTo>
                <a:cubicBezTo>
                  <a:pt x="4014" y="984"/>
                  <a:pt x="3812" y="2307"/>
                  <a:pt x="3222" y="3042"/>
                </a:cubicBezTo>
                <a:cubicBezTo>
                  <a:pt x="1988" y="4455"/>
                  <a:pt x="0" y="3744"/>
                  <a:pt x="0" y="3744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9" name="Freeform 45"/>
          <p:cNvSpPr>
            <a:spLocks/>
          </p:cNvSpPr>
          <p:nvPr/>
        </p:nvSpPr>
        <p:spPr bwMode="gray">
          <a:xfrm>
            <a:off x="0" y="0"/>
            <a:ext cx="6372225" cy="70723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612" y="0"/>
              </a:cxn>
              <a:cxn ang="0">
                <a:pos x="3222" y="3042"/>
              </a:cxn>
              <a:cxn ang="0">
                <a:pos x="0" y="3744"/>
              </a:cxn>
              <a:cxn ang="0">
                <a:pos x="0" y="0"/>
              </a:cxn>
            </a:cxnLst>
            <a:rect l="0" t="0" r="r" b="b"/>
            <a:pathLst>
              <a:path w="4014" h="4455">
                <a:moveTo>
                  <a:pt x="0" y="0"/>
                </a:moveTo>
                <a:lnTo>
                  <a:pt x="3612" y="0"/>
                </a:lnTo>
                <a:cubicBezTo>
                  <a:pt x="4014" y="984"/>
                  <a:pt x="3812" y="2307"/>
                  <a:pt x="3222" y="3042"/>
                </a:cubicBezTo>
                <a:cubicBezTo>
                  <a:pt x="1988" y="4455"/>
                  <a:pt x="0" y="3744"/>
                  <a:pt x="0" y="3744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chemeClr val="bg1">
                  <a:gamma/>
                  <a:tint val="25490"/>
                  <a:invGamma/>
                </a:schemeClr>
              </a:gs>
              <a:gs pos="100000">
                <a:schemeClr val="bg1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algn="ctr" eaLnBrk="1" hangingPunct="1">
              <a:defRPr/>
            </a:pPr>
            <a:endParaRPr lang="zh-CN" altLang="en-US" sz="1400">
              <a:latin typeface="Arial" charset="0"/>
              <a:ea typeface="宋体" pitchFamily="2" charset="-122"/>
            </a:endParaRPr>
          </a:p>
        </p:txBody>
      </p:sp>
      <p:sp>
        <p:nvSpPr>
          <p:cNvPr id="10" name="Line 47"/>
          <p:cNvSpPr>
            <a:spLocks noChangeShapeType="1"/>
          </p:cNvSpPr>
          <p:nvPr/>
        </p:nvSpPr>
        <p:spPr bwMode="gray">
          <a:xfrm>
            <a:off x="250825" y="1588"/>
            <a:ext cx="0" cy="60150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1" name="Line 48"/>
          <p:cNvSpPr>
            <a:spLocks noChangeShapeType="1"/>
          </p:cNvSpPr>
          <p:nvPr/>
        </p:nvSpPr>
        <p:spPr bwMode="gray">
          <a:xfrm>
            <a:off x="1293813" y="1588"/>
            <a:ext cx="0" cy="62071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2" name="Line 49"/>
          <p:cNvSpPr>
            <a:spLocks noChangeShapeType="1"/>
          </p:cNvSpPr>
          <p:nvPr/>
        </p:nvSpPr>
        <p:spPr bwMode="gray">
          <a:xfrm>
            <a:off x="2338388" y="1588"/>
            <a:ext cx="0" cy="61833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3" name="Line 50"/>
          <p:cNvSpPr>
            <a:spLocks noChangeShapeType="1"/>
          </p:cNvSpPr>
          <p:nvPr/>
        </p:nvSpPr>
        <p:spPr bwMode="gray">
          <a:xfrm>
            <a:off x="3382963" y="1588"/>
            <a:ext cx="0" cy="5972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4" name="Line 51"/>
          <p:cNvSpPr>
            <a:spLocks noChangeShapeType="1"/>
          </p:cNvSpPr>
          <p:nvPr/>
        </p:nvSpPr>
        <p:spPr bwMode="gray">
          <a:xfrm>
            <a:off x="4427538" y="1588"/>
            <a:ext cx="0" cy="544988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5" name="Line 53"/>
          <p:cNvSpPr>
            <a:spLocks noChangeShapeType="1"/>
          </p:cNvSpPr>
          <p:nvPr/>
        </p:nvSpPr>
        <p:spPr bwMode="gray">
          <a:xfrm rot="5400000">
            <a:off x="2913063" y="-2654300"/>
            <a:ext cx="0" cy="58134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6" name="Line 54"/>
          <p:cNvSpPr>
            <a:spLocks noChangeShapeType="1"/>
          </p:cNvSpPr>
          <p:nvPr/>
        </p:nvSpPr>
        <p:spPr bwMode="gray">
          <a:xfrm rot="5400000">
            <a:off x="3006725" y="-1682750"/>
            <a:ext cx="0" cy="60007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7" name="Line 55"/>
          <p:cNvSpPr>
            <a:spLocks noChangeShapeType="1"/>
          </p:cNvSpPr>
          <p:nvPr/>
        </p:nvSpPr>
        <p:spPr bwMode="gray">
          <a:xfrm rot="5400000">
            <a:off x="3011488" y="-622300"/>
            <a:ext cx="0" cy="60102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8" name="Line 56"/>
          <p:cNvSpPr>
            <a:spLocks noChangeShapeType="1"/>
          </p:cNvSpPr>
          <p:nvPr/>
        </p:nvSpPr>
        <p:spPr bwMode="gray">
          <a:xfrm rot="5400000">
            <a:off x="2907507" y="548481"/>
            <a:ext cx="0" cy="580231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19" name="Line 57"/>
          <p:cNvSpPr>
            <a:spLocks noChangeShapeType="1"/>
          </p:cNvSpPr>
          <p:nvPr/>
        </p:nvSpPr>
        <p:spPr bwMode="gray">
          <a:xfrm rot="5400000">
            <a:off x="2666207" y="1854993"/>
            <a:ext cx="0" cy="5319713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0" name="Line 58"/>
          <p:cNvSpPr>
            <a:spLocks noChangeShapeType="1"/>
          </p:cNvSpPr>
          <p:nvPr/>
        </p:nvSpPr>
        <p:spPr bwMode="gray">
          <a:xfrm rot="5400000">
            <a:off x="2115344" y="3472656"/>
            <a:ext cx="0" cy="42179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1" name="Rectangle 59"/>
          <p:cNvSpPr>
            <a:spLocks noChangeArrowheads="1"/>
          </p:cNvSpPr>
          <p:nvPr/>
        </p:nvSpPr>
        <p:spPr bwMode="gray">
          <a:xfrm>
            <a:off x="2362200" y="277813"/>
            <a:ext cx="1012825" cy="1025525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sp>
        <p:nvSpPr>
          <p:cNvPr id="22" name="Rectangle 60"/>
          <p:cNvSpPr>
            <a:spLocks noChangeArrowheads="1"/>
          </p:cNvSpPr>
          <p:nvPr/>
        </p:nvSpPr>
        <p:spPr bwMode="gray">
          <a:xfrm>
            <a:off x="285750" y="2427288"/>
            <a:ext cx="1012825" cy="1025525"/>
          </a:xfrm>
          <a:prstGeom prst="rect">
            <a:avLst/>
          </a:prstGeom>
          <a:solidFill>
            <a:srgbClr val="FFFFFF">
              <a:alpha val="39999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sp>
        <p:nvSpPr>
          <p:cNvPr id="23" name="Rectangle 61"/>
          <p:cNvSpPr>
            <a:spLocks noChangeArrowheads="1"/>
          </p:cNvSpPr>
          <p:nvPr/>
        </p:nvSpPr>
        <p:spPr bwMode="gray">
          <a:xfrm>
            <a:off x="0" y="271463"/>
            <a:ext cx="250825" cy="1025525"/>
          </a:xfrm>
          <a:prstGeom prst="rect">
            <a:avLst/>
          </a:prstGeom>
          <a:solidFill>
            <a:srgbClr val="FFFFFF">
              <a:alpha val="39999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sp>
        <p:nvSpPr>
          <p:cNvPr id="24" name="Rectangle 62"/>
          <p:cNvSpPr>
            <a:spLocks noChangeArrowheads="1"/>
          </p:cNvSpPr>
          <p:nvPr/>
        </p:nvSpPr>
        <p:spPr bwMode="gray">
          <a:xfrm>
            <a:off x="1331913" y="1588"/>
            <a:ext cx="1012825" cy="234950"/>
          </a:xfrm>
          <a:prstGeom prst="rect">
            <a:avLst/>
          </a:prstGeom>
          <a:solidFill>
            <a:srgbClr val="FFFFFF">
              <a:alpha val="50195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sp>
        <p:nvSpPr>
          <p:cNvPr id="25" name="Freeform 64"/>
          <p:cNvSpPr>
            <a:spLocks/>
          </p:cNvSpPr>
          <p:nvPr/>
        </p:nvSpPr>
        <p:spPr bwMode="gray">
          <a:xfrm>
            <a:off x="2365375" y="4541838"/>
            <a:ext cx="1009650" cy="1033462"/>
          </a:xfrm>
          <a:custGeom>
            <a:avLst/>
            <a:gdLst>
              <a:gd name="T0" fmla="*/ 0 w 636"/>
              <a:gd name="T1" fmla="*/ 0 h 651"/>
              <a:gd name="T2" fmla="*/ 0 w 636"/>
              <a:gd name="T3" fmla="*/ 1625499201 h 651"/>
              <a:gd name="T4" fmla="*/ 1602819375 w 636"/>
              <a:gd name="T5" fmla="*/ 1640620131 h 651"/>
              <a:gd name="T6" fmla="*/ 1592738750 w 636"/>
              <a:gd name="T7" fmla="*/ 0 h 651"/>
              <a:gd name="T8" fmla="*/ 0 w 636"/>
              <a:gd name="T9" fmla="*/ 0 h 65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636" h="651">
                <a:moveTo>
                  <a:pt x="0" y="0"/>
                </a:moveTo>
                <a:lnTo>
                  <a:pt x="0" y="645"/>
                </a:lnTo>
                <a:lnTo>
                  <a:pt x="636" y="651"/>
                </a:lnTo>
                <a:lnTo>
                  <a:pt x="63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39999"/>
            </a:srgbClr>
          </a:solidFill>
          <a:ln w="9525">
            <a:noFill/>
            <a:round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zh-CN" altLang="en-US" sz="1400">
              <a:ea typeface="宋体" panose="02010600030101010101" pitchFamily="2" charset="-122"/>
            </a:endParaRPr>
          </a:p>
        </p:txBody>
      </p:sp>
      <p:sp>
        <p:nvSpPr>
          <p:cNvPr id="26" name="Rectangle 31"/>
          <p:cNvSpPr>
            <a:spLocks noChangeArrowheads="1"/>
          </p:cNvSpPr>
          <p:nvPr/>
        </p:nvSpPr>
        <p:spPr bwMode="gray">
          <a:xfrm>
            <a:off x="285750" y="2435225"/>
            <a:ext cx="1012825" cy="1025525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grpSp>
        <p:nvGrpSpPr>
          <p:cNvPr id="27" name="Group 71"/>
          <p:cNvGrpSpPr>
            <a:grpSpLocks/>
          </p:cNvGrpSpPr>
          <p:nvPr/>
        </p:nvGrpSpPr>
        <p:grpSpPr bwMode="auto">
          <a:xfrm>
            <a:off x="8077200" y="0"/>
            <a:ext cx="1076325" cy="6858000"/>
            <a:chOff x="5088" y="0"/>
            <a:chExt cx="678" cy="4320"/>
          </a:xfrm>
        </p:grpSpPr>
        <p:sp>
          <p:nvSpPr>
            <p:cNvPr id="28" name="Freeform 66"/>
            <p:cNvSpPr>
              <a:spLocks/>
            </p:cNvSpPr>
            <p:nvPr userDrawn="1"/>
          </p:nvSpPr>
          <p:spPr bwMode="gray">
            <a:xfrm>
              <a:off x="5088" y="0"/>
              <a:ext cx="672" cy="702"/>
            </a:xfrm>
            <a:custGeom>
              <a:avLst/>
              <a:gdLst>
                <a:gd name="T0" fmla="*/ 0 w 672"/>
                <a:gd name="T1" fmla="*/ 410 h 720"/>
                <a:gd name="T2" fmla="*/ 288 w 672"/>
                <a:gd name="T3" fmla="*/ 0 h 720"/>
                <a:gd name="T4" fmla="*/ 672 w 672"/>
                <a:gd name="T5" fmla="*/ 0 h 720"/>
                <a:gd name="T6" fmla="*/ 672 w 672"/>
                <a:gd name="T7" fmla="*/ 684 h 720"/>
                <a:gd name="T8" fmla="*/ 0 w 672"/>
                <a:gd name="T9" fmla="*/ 410 h 7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72" h="720">
                  <a:moveTo>
                    <a:pt x="0" y="432"/>
                  </a:moveTo>
                  <a:cubicBezTo>
                    <a:pt x="186" y="216"/>
                    <a:pt x="288" y="0"/>
                    <a:pt x="288" y="0"/>
                  </a:cubicBezTo>
                  <a:lnTo>
                    <a:pt x="672" y="0"/>
                  </a:lnTo>
                  <a:lnTo>
                    <a:pt x="672" y="720"/>
                  </a:lnTo>
                  <a:cubicBezTo>
                    <a:pt x="672" y="720"/>
                    <a:pt x="384" y="516"/>
                    <a:pt x="0" y="432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zh-CN" altLang="en-US" sz="1400">
                <a:ea typeface="宋体" panose="02010600030101010101" pitchFamily="2" charset="-122"/>
              </a:endParaRPr>
            </a:p>
          </p:txBody>
        </p:sp>
        <p:sp>
          <p:nvSpPr>
            <p:cNvPr id="29" name="Freeform 67"/>
            <p:cNvSpPr>
              <a:spLocks/>
            </p:cNvSpPr>
            <p:nvPr userDrawn="1"/>
          </p:nvSpPr>
          <p:spPr bwMode="gray">
            <a:xfrm>
              <a:off x="5602" y="3496"/>
              <a:ext cx="164" cy="824"/>
            </a:xfrm>
            <a:custGeom>
              <a:avLst/>
              <a:gdLst>
                <a:gd name="T0" fmla="*/ 123 w 212"/>
                <a:gd name="T1" fmla="*/ 0 h 824"/>
                <a:gd name="T2" fmla="*/ 0 w 212"/>
                <a:gd name="T3" fmla="*/ 82 h 824"/>
                <a:gd name="T4" fmla="*/ 101 w 212"/>
                <a:gd name="T5" fmla="*/ 824 h 824"/>
                <a:gd name="T6" fmla="*/ 127 w 212"/>
                <a:gd name="T7" fmla="*/ 822 h 824"/>
                <a:gd name="T8" fmla="*/ 123 w 212"/>
                <a:gd name="T9" fmla="*/ 0 h 8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2" h="824">
                  <a:moveTo>
                    <a:pt x="206" y="0"/>
                  </a:moveTo>
                  <a:cubicBezTo>
                    <a:pt x="104" y="54"/>
                    <a:pt x="0" y="82"/>
                    <a:pt x="0" y="82"/>
                  </a:cubicBezTo>
                  <a:cubicBezTo>
                    <a:pt x="0" y="82"/>
                    <a:pt x="148" y="378"/>
                    <a:pt x="168" y="824"/>
                  </a:cubicBezTo>
                  <a:lnTo>
                    <a:pt x="212" y="822"/>
                  </a:lnTo>
                  <a:cubicBezTo>
                    <a:pt x="212" y="822"/>
                    <a:pt x="209" y="411"/>
                    <a:pt x="206" y="0"/>
                  </a:cubicBezTo>
                  <a:close/>
                </a:path>
              </a:pathLst>
            </a:custGeom>
            <a:solidFill>
              <a:srgbClr val="E8E8E8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zh-CN" altLang="en-US" sz="1400">
                <a:ea typeface="宋体" panose="02010600030101010101" pitchFamily="2" charset="-122"/>
              </a:endParaRPr>
            </a:p>
          </p:txBody>
        </p:sp>
      </p:grpSp>
      <p:sp>
        <p:nvSpPr>
          <p:cNvPr id="30" name="Rectangle 80"/>
          <p:cNvSpPr>
            <a:spLocks noChangeArrowheads="1"/>
          </p:cNvSpPr>
          <p:nvPr/>
        </p:nvSpPr>
        <p:spPr bwMode="gray">
          <a:xfrm>
            <a:off x="5495925" y="1333500"/>
            <a:ext cx="660400" cy="1025525"/>
          </a:xfrm>
          <a:prstGeom prst="rect">
            <a:avLst/>
          </a:prstGeom>
          <a:solidFill>
            <a:srgbClr val="FFFFFF">
              <a:alpha val="39999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sp>
        <p:nvSpPr>
          <p:cNvPr id="31" name="Line 81"/>
          <p:cNvSpPr>
            <a:spLocks noChangeShapeType="1"/>
          </p:cNvSpPr>
          <p:nvPr/>
        </p:nvSpPr>
        <p:spPr bwMode="gray">
          <a:xfrm>
            <a:off x="5480050" y="1588"/>
            <a:ext cx="0" cy="42386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>
            <a:outerShdw dist="17961" dir="2700000" algn="ctr" rotWithShape="0">
              <a:schemeClr val="accent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32" name="Rectangle 82"/>
          <p:cNvSpPr>
            <a:spLocks noChangeArrowheads="1"/>
          </p:cNvSpPr>
          <p:nvPr/>
        </p:nvSpPr>
        <p:spPr bwMode="gray">
          <a:xfrm>
            <a:off x="4457700" y="3495675"/>
            <a:ext cx="1012825" cy="1025525"/>
          </a:xfrm>
          <a:prstGeom prst="rect">
            <a:avLst/>
          </a:prstGeom>
          <a:solidFill>
            <a:srgbClr val="FFFFFF">
              <a:alpha val="30196"/>
            </a:srgbClr>
          </a:solidFill>
          <a:ln>
            <a:noFill/>
          </a:ln>
          <a:extLst/>
        </p:spPr>
        <p:txBody>
          <a:bodyPr wrap="none" anchor="ctr"/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zh-CN" altLang="en-US" sz="1400" smtClean="0">
              <a:ea typeface="宋体" panose="02010600030101010101" pitchFamily="2" charset="-122"/>
            </a:endParaRPr>
          </a:p>
        </p:txBody>
      </p:sp>
      <p:pic>
        <p:nvPicPr>
          <p:cNvPr id="33" name="Picture 83" descr="wate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09" t="16374" b="27486"/>
          <a:stretch>
            <a:fillRect/>
          </a:stretch>
        </p:blipFill>
        <p:spPr bwMode="gray">
          <a:xfrm rot="393398">
            <a:off x="2667000" y="609600"/>
            <a:ext cx="2663825" cy="219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3375" y="5084763"/>
            <a:ext cx="6400800" cy="221599"/>
          </a:xfrm>
        </p:spPr>
        <p:txBody>
          <a:bodyPr/>
          <a:lstStyle>
            <a:lvl1pPr marL="0" indent="0">
              <a:buFontTx/>
              <a:buNone/>
              <a:defRPr sz="1600">
                <a:latin typeface="Times New Roman" pitchFamily="18" charset="0"/>
              </a:defRPr>
            </a:lvl1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333375" y="1884364"/>
            <a:ext cx="8229600" cy="664797"/>
          </a:xfrm>
          <a:effectLst/>
        </p:spPr>
        <p:txBody>
          <a:bodyPr/>
          <a:lstStyle>
            <a:lvl1pPr>
              <a:defRPr sz="48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407150"/>
            <a:ext cx="2133600" cy="3143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latin typeface="Arial" pitchFamily="34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407150"/>
            <a:ext cx="2895600" cy="3143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ea typeface="宋体" panose="02010600030101010101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407150"/>
            <a:ext cx="2133600" cy="3143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ea typeface="宋体" panose="02010600030101010101" pitchFamily="2" charset="-122"/>
              </a:defRPr>
            </a:lvl1pPr>
          </a:lstStyle>
          <a:p>
            <a:pPr>
              <a:defRPr/>
            </a:pPr>
            <a:fld id="{719FA2BE-F99C-4B8A-9769-28E20BA8EF02}" type="slidenum">
              <a:rPr lang="zh-CN" altLang="en-US"/>
              <a:pPr>
                <a:defRPr/>
              </a:pPr>
              <a:t>‹#›</a:t>
            </a:fld>
            <a:endParaRPr lang="zh-CN" altLang="zh-CN"/>
          </a:p>
        </p:txBody>
      </p:sp>
    </p:spTree>
    <p:extLst>
      <p:ext uri="{BB962C8B-B14F-4D97-AF65-F5344CB8AC3E}">
        <p14:creationId xmlns:p14="http://schemas.microsoft.com/office/powerpoint/2010/main" val="30067318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3000"/>
                            </p:stCondLst>
                            <p:childTnLst>
                              <p:par>
                                <p:cTn id="1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0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100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100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26" presetClass="emph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2000" tmFilter="0, 0; .2, .5; .8, .5; 1, 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" dur="1000" autoRev="1" fill="hold"/>
                                        <p:tgtEl>
                                          <p:spTgt spid="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26" presetClass="emph" presetSubtype="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20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9" dur="100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624"/>
            <a:ext cx="7772400" cy="1469826"/>
          </a:xfr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0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7CFBCE-4491-428F-840B-59A3C2D98D8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3732336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56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CFB23-1F43-4AAF-827D-BF58B87E92CB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2969269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4" name="Demo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135906"/>
            <a:chExt cx="2827252" cy="2827252"/>
          </a:xfrm>
        </p:grpSpPr>
        <p:sp>
          <p:nvSpPr>
            <p:cNvPr id="15" name="Rectangle 16"/>
            <p:cNvSpPr/>
            <p:nvPr/>
          </p:nvSpPr>
          <p:spPr bwMode="auto">
            <a:xfrm>
              <a:off x="1022073" y="-1135906"/>
              <a:ext cx="2827252" cy="2827252"/>
            </a:xfrm>
            <a:prstGeom prst="rect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6" name="Light bulb Icon"/>
            <p:cNvSpPr>
              <a:spLocks noEditPoints="1"/>
            </p:cNvSpPr>
            <p:nvPr/>
          </p:nvSpPr>
          <p:spPr bwMode="auto">
            <a:xfrm>
              <a:off x="1945077" y="-620805"/>
              <a:ext cx="979488" cy="1797050"/>
            </a:xfrm>
            <a:custGeom>
              <a:avLst/>
              <a:gdLst>
                <a:gd name="T0" fmla="*/ 2147483646 w 122"/>
                <a:gd name="T1" fmla="*/ 2147483646 h 224"/>
                <a:gd name="T2" fmla="*/ 2147483646 w 122"/>
                <a:gd name="T3" fmla="*/ 2147483646 h 224"/>
                <a:gd name="T4" fmla="*/ 2147483646 w 122"/>
                <a:gd name="T5" fmla="*/ 2147483646 h 224"/>
                <a:gd name="T6" fmla="*/ 2147483646 w 122"/>
                <a:gd name="T7" fmla="*/ 2147483646 h 224"/>
                <a:gd name="T8" fmla="*/ 2147483646 w 122"/>
                <a:gd name="T9" fmla="*/ 2147483646 h 224"/>
                <a:gd name="T10" fmla="*/ 2147483646 w 122"/>
                <a:gd name="T11" fmla="*/ 2147483646 h 224"/>
                <a:gd name="T12" fmla="*/ 2147483646 w 122"/>
                <a:gd name="T13" fmla="*/ 2147483646 h 224"/>
                <a:gd name="T14" fmla="*/ 2147483646 w 122"/>
                <a:gd name="T15" fmla="*/ 2147483646 h 224"/>
                <a:gd name="T16" fmla="*/ 2147483646 w 122"/>
                <a:gd name="T17" fmla="*/ 2147483646 h 224"/>
                <a:gd name="T18" fmla="*/ 2147483646 w 122"/>
                <a:gd name="T19" fmla="*/ 2147483646 h 224"/>
                <a:gd name="T20" fmla="*/ 2147483646 w 122"/>
                <a:gd name="T21" fmla="*/ 2147483646 h 224"/>
                <a:gd name="T22" fmla="*/ 2147483646 w 122"/>
                <a:gd name="T23" fmla="*/ 2147483646 h 224"/>
                <a:gd name="T24" fmla="*/ 2147483646 w 122"/>
                <a:gd name="T25" fmla="*/ 2147483646 h 224"/>
                <a:gd name="T26" fmla="*/ 2147483646 w 122"/>
                <a:gd name="T27" fmla="*/ 2147483646 h 224"/>
                <a:gd name="T28" fmla="*/ 2147483646 w 122"/>
                <a:gd name="T29" fmla="*/ 2147483646 h 224"/>
                <a:gd name="T30" fmla="*/ 2147483646 w 122"/>
                <a:gd name="T31" fmla="*/ 2147483646 h 224"/>
                <a:gd name="T32" fmla="*/ 2147483646 w 122"/>
                <a:gd name="T33" fmla="*/ 2147483646 h 224"/>
                <a:gd name="T34" fmla="*/ 2147483646 w 122"/>
                <a:gd name="T35" fmla="*/ 2147483646 h 224"/>
                <a:gd name="T36" fmla="*/ 2147483646 w 122"/>
                <a:gd name="T37" fmla="*/ 2147483646 h 224"/>
                <a:gd name="T38" fmla="*/ 2147483646 w 122"/>
                <a:gd name="T39" fmla="*/ 2147483646 h 224"/>
                <a:gd name="T40" fmla="*/ 2147483646 w 122"/>
                <a:gd name="T41" fmla="*/ 2147483646 h 224"/>
                <a:gd name="T42" fmla="*/ 2147483646 w 122"/>
                <a:gd name="T43" fmla="*/ 2147483646 h 224"/>
                <a:gd name="T44" fmla="*/ 2147483646 w 122"/>
                <a:gd name="T45" fmla="*/ 2147483646 h 224"/>
                <a:gd name="T46" fmla="*/ 2147483646 w 122"/>
                <a:gd name="T47" fmla="*/ 2147483646 h 224"/>
                <a:gd name="T48" fmla="*/ 2147483646 w 122"/>
                <a:gd name="T49" fmla="*/ 2147483646 h 224"/>
                <a:gd name="T50" fmla="*/ 2147483646 w 122"/>
                <a:gd name="T51" fmla="*/ 2147483646 h 224"/>
                <a:gd name="T52" fmla="*/ 2147483646 w 122"/>
                <a:gd name="T53" fmla="*/ 2147483646 h 224"/>
                <a:gd name="T54" fmla="*/ 2147483646 w 122"/>
                <a:gd name="T55" fmla="*/ 2147483646 h 224"/>
                <a:gd name="T56" fmla="*/ 2147483646 w 122"/>
                <a:gd name="T57" fmla="*/ 2147483646 h 224"/>
                <a:gd name="T58" fmla="*/ 2147483646 w 122"/>
                <a:gd name="T59" fmla="*/ 2147483646 h 224"/>
                <a:gd name="T60" fmla="*/ 2147483646 w 122"/>
                <a:gd name="T61" fmla="*/ 2147483646 h 224"/>
                <a:gd name="T62" fmla="*/ 2147483646 w 122"/>
                <a:gd name="T63" fmla="*/ 2147483646 h 224"/>
                <a:gd name="T64" fmla="*/ 2147483646 w 122"/>
                <a:gd name="T65" fmla="*/ 2147483646 h 224"/>
                <a:gd name="T66" fmla="*/ 2147483646 w 122"/>
                <a:gd name="T67" fmla="*/ 2147483646 h 224"/>
                <a:gd name="T68" fmla="*/ 2147483646 w 122"/>
                <a:gd name="T69" fmla="*/ 2147483646 h 224"/>
                <a:gd name="T70" fmla="*/ 2147483646 w 122"/>
                <a:gd name="T71" fmla="*/ 2147483646 h 224"/>
                <a:gd name="T72" fmla="*/ 2147483646 w 122"/>
                <a:gd name="T73" fmla="*/ 2147483646 h 224"/>
                <a:gd name="T74" fmla="*/ 2147483646 w 122"/>
                <a:gd name="T75" fmla="*/ 2147483646 h 224"/>
                <a:gd name="T76" fmla="*/ 2147483646 w 122"/>
                <a:gd name="T77" fmla="*/ 2147483646 h 224"/>
                <a:gd name="T78" fmla="*/ 2147483646 w 122"/>
                <a:gd name="T79" fmla="*/ 2147483646 h 224"/>
                <a:gd name="T80" fmla="*/ 2147483646 w 122"/>
                <a:gd name="T81" fmla="*/ 2147483646 h 224"/>
                <a:gd name="T82" fmla="*/ 2147483646 w 122"/>
                <a:gd name="T83" fmla="*/ 2147483646 h 224"/>
                <a:gd name="T84" fmla="*/ 2147483646 w 122"/>
                <a:gd name="T85" fmla="*/ 2147483646 h 224"/>
                <a:gd name="T86" fmla="*/ 2147483646 w 122"/>
                <a:gd name="T87" fmla="*/ 2147483646 h 224"/>
                <a:gd name="T88" fmla="*/ 2147483646 w 122"/>
                <a:gd name="T89" fmla="*/ 2147483646 h 224"/>
                <a:gd name="T90" fmla="*/ 2147483646 w 122"/>
                <a:gd name="T91" fmla="*/ 2147483646 h 224"/>
                <a:gd name="T92" fmla="*/ 2147483646 w 122"/>
                <a:gd name="T93" fmla="*/ 2147483646 h 224"/>
                <a:gd name="T94" fmla="*/ 2147483646 w 122"/>
                <a:gd name="T95" fmla="*/ 2147483646 h 224"/>
                <a:gd name="T96" fmla="*/ 2147483646 w 122"/>
                <a:gd name="T97" fmla="*/ 2147483646 h 224"/>
                <a:gd name="T98" fmla="*/ 2147483646 w 122"/>
                <a:gd name="T99" fmla="*/ 2147483646 h 224"/>
                <a:gd name="T100" fmla="*/ 2147483646 w 122"/>
                <a:gd name="T101" fmla="*/ 2147483646 h 224"/>
                <a:gd name="T102" fmla="*/ 2147483646 w 122"/>
                <a:gd name="T103" fmla="*/ 2147483646 h 224"/>
                <a:gd name="T104" fmla="*/ 2147483646 w 122"/>
                <a:gd name="T105" fmla="*/ 2147483646 h 224"/>
                <a:gd name="T106" fmla="*/ 2147483646 w 122"/>
                <a:gd name="T107" fmla="*/ 2147483646 h 224"/>
                <a:gd name="T108" fmla="*/ 2147483646 w 122"/>
                <a:gd name="T109" fmla="*/ 2147483646 h 224"/>
                <a:gd name="T110" fmla="*/ 2147483646 w 122"/>
                <a:gd name="T111" fmla="*/ 2147483646 h 224"/>
                <a:gd name="T112" fmla="*/ 2147483646 w 122"/>
                <a:gd name="T113" fmla="*/ 2147483646 h 224"/>
                <a:gd name="T114" fmla="*/ 2147483646 w 122"/>
                <a:gd name="T115" fmla="*/ 2147483646 h 224"/>
                <a:gd name="T116" fmla="*/ 2147483646 w 122"/>
                <a:gd name="T117" fmla="*/ 2147483646 h 224"/>
                <a:gd name="T118" fmla="*/ 2147483646 w 122"/>
                <a:gd name="T119" fmla="*/ 2147483646 h 224"/>
                <a:gd name="T120" fmla="*/ 2147483646 w 122"/>
                <a:gd name="T121" fmla="*/ 2147483646 h 224"/>
                <a:gd name="T122" fmla="*/ 2147483646 w 122"/>
                <a:gd name="T123" fmla="*/ 2147483646 h 224"/>
                <a:gd name="T124" fmla="*/ 2147483646 w 122"/>
                <a:gd name="T125" fmla="*/ 2147483646 h 2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22" h="224"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moveTo>
                    <a:pt x="10" y="50"/>
                  </a:moveTo>
                  <a:cubicBezTo>
                    <a:pt x="105" y="22"/>
                    <a:pt x="105" y="22"/>
                    <a:pt x="105" y="22"/>
                  </a:cubicBezTo>
                  <a:cubicBezTo>
                    <a:pt x="106" y="21"/>
                    <a:pt x="107" y="21"/>
                    <a:pt x="108" y="21"/>
                  </a:cubicBezTo>
                  <a:cubicBezTo>
                    <a:pt x="113" y="21"/>
                    <a:pt x="118" y="24"/>
                    <a:pt x="119" y="29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1" y="36"/>
                    <a:pt x="121" y="39"/>
                    <a:pt x="119" y="41"/>
                  </a:cubicBezTo>
                  <a:cubicBezTo>
                    <a:pt x="118" y="44"/>
                    <a:pt x="116" y="46"/>
                    <a:pt x="113" y="47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16" y="76"/>
                    <a:pt x="15" y="76"/>
                    <a:pt x="14" y="76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9" y="76"/>
                    <a:pt x="5" y="73"/>
                    <a:pt x="3" y="68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1" y="61"/>
                    <a:pt x="2" y="58"/>
                    <a:pt x="3" y="56"/>
                  </a:cubicBezTo>
                  <a:cubicBezTo>
                    <a:pt x="5" y="53"/>
                    <a:pt x="7" y="51"/>
                    <a:pt x="10" y="50"/>
                  </a:cubicBezTo>
                  <a:close/>
                  <a:moveTo>
                    <a:pt x="12" y="56"/>
                  </a:moveTo>
                  <a:cubicBezTo>
                    <a:pt x="10" y="56"/>
                    <a:pt x="9" y="57"/>
                    <a:pt x="8" y="58"/>
                  </a:cubicBezTo>
                  <a:cubicBezTo>
                    <a:pt x="8" y="60"/>
                    <a:pt x="8" y="61"/>
                    <a:pt x="8" y="62"/>
                  </a:cubicBezTo>
                  <a:cubicBezTo>
                    <a:pt x="9" y="66"/>
                    <a:pt x="9" y="66"/>
                    <a:pt x="9" y="66"/>
                  </a:cubicBezTo>
                  <a:cubicBezTo>
                    <a:pt x="10" y="68"/>
                    <a:pt x="12" y="70"/>
                    <a:pt x="14" y="70"/>
                  </a:cubicBezTo>
                  <a:cubicBezTo>
                    <a:pt x="14" y="70"/>
                    <a:pt x="14" y="70"/>
                    <a:pt x="14" y="70"/>
                  </a:cubicBezTo>
                  <a:cubicBezTo>
                    <a:pt x="15" y="70"/>
                    <a:pt x="15" y="70"/>
                    <a:pt x="16" y="7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2" y="41"/>
                    <a:pt x="113" y="40"/>
                    <a:pt x="114" y="39"/>
                  </a:cubicBezTo>
                  <a:cubicBezTo>
                    <a:pt x="115" y="37"/>
                    <a:pt x="115" y="36"/>
                    <a:pt x="115" y="35"/>
                  </a:cubicBezTo>
                  <a:cubicBezTo>
                    <a:pt x="113" y="31"/>
                    <a:pt x="113" y="31"/>
                    <a:pt x="113" y="31"/>
                  </a:cubicBezTo>
                  <a:cubicBezTo>
                    <a:pt x="113" y="29"/>
                    <a:pt x="111" y="27"/>
                    <a:pt x="108" y="27"/>
                  </a:cubicBezTo>
                  <a:cubicBezTo>
                    <a:pt x="108" y="27"/>
                    <a:pt x="107" y="27"/>
                    <a:pt x="107" y="27"/>
                  </a:cubicBezTo>
                  <a:lnTo>
                    <a:pt x="12" y="56"/>
                  </a:lnTo>
                  <a:close/>
                  <a:moveTo>
                    <a:pt x="2" y="31"/>
                  </a:moveTo>
                  <a:cubicBezTo>
                    <a:pt x="0" y="25"/>
                    <a:pt x="4" y="18"/>
                    <a:pt x="10" y="16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5" y="0"/>
                    <a:pt x="72" y="3"/>
                    <a:pt x="73" y="9"/>
                  </a:cubicBezTo>
                  <a:cubicBezTo>
                    <a:pt x="75" y="12"/>
                    <a:pt x="75" y="12"/>
                    <a:pt x="75" y="12"/>
                  </a:cubicBezTo>
                  <a:cubicBezTo>
                    <a:pt x="76" y="18"/>
                    <a:pt x="73" y="25"/>
                    <a:pt x="67" y="27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6" y="42"/>
                    <a:pt x="15" y="42"/>
                    <a:pt x="14" y="42"/>
                  </a:cubicBezTo>
                  <a:cubicBezTo>
                    <a:pt x="9" y="42"/>
                    <a:pt x="5" y="39"/>
                    <a:pt x="3" y="34"/>
                  </a:cubicBezTo>
                  <a:lnTo>
                    <a:pt x="2" y="31"/>
                  </a:lnTo>
                  <a:close/>
                  <a:moveTo>
                    <a:pt x="8" y="29"/>
                  </a:moveTo>
                  <a:cubicBezTo>
                    <a:pt x="9" y="32"/>
                    <a:pt x="9" y="32"/>
                    <a:pt x="9" y="32"/>
                  </a:cubicBezTo>
                  <a:cubicBezTo>
                    <a:pt x="10" y="35"/>
                    <a:pt x="12" y="36"/>
                    <a:pt x="14" y="36"/>
                  </a:cubicBezTo>
                  <a:cubicBezTo>
                    <a:pt x="15" y="36"/>
                    <a:pt x="15" y="36"/>
                    <a:pt x="16" y="36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8" y="20"/>
                    <a:pt x="70" y="17"/>
                    <a:pt x="69" y="14"/>
                  </a:cubicBezTo>
                  <a:cubicBezTo>
                    <a:pt x="68" y="11"/>
                    <a:pt x="68" y="11"/>
                    <a:pt x="68" y="11"/>
                  </a:cubicBezTo>
                  <a:cubicBezTo>
                    <a:pt x="67" y="8"/>
                    <a:pt x="65" y="7"/>
                    <a:pt x="63" y="7"/>
                  </a:cubicBezTo>
                  <a:cubicBezTo>
                    <a:pt x="62" y="7"/>
                    <a:pt x="62" y="7"/>
                    <a:pt x="61" y="7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9" y="23"/>
                    <a:pt x="7" y="26"/>
                    <a:pt x="8" y="29"/>
                  </a:cubicBezTo>
                  <a:close/>
                  <a:moveTo>
                    <a:pt x="113" y="114"/>
                  </a:moveTo>
                  <a:cubicBezTo>
                    <a:pt x="105" y="116"/>
                    <a:pt x="105" y="116"/>
                    <a:pt x="105" y="116"/>
                  </a:cubicBezTo>
                  <a:cubicBezTo>
                    <a:pt x="102" y="117"/>
                    <a:pt x="99" y="121"/>
                    <a:pt x="99" y="124"/>
                  </a:cubicBezTo>
                  <a:cubicBezTo>
                    <a:pt x="99" y="137"/>
                    <a:pt x="99" y="137"/>
                    <a:pt x="99" y="137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87"/>
                    <a:pt x="110" y="187"/>
                    <a:pt x="110" y="187"/>
                  </a:cubicBezTo>
                  <a:cubicBezTo>
                    <a:pt x="110" y="198"/>
                    <a:pt x="100" y="207"/>
                    <a:pt x="87" y="208"/>
                  </a:cubicBezTo>
                  <a:cubicBezTo>
                    <a:pt x="87" y="213"/>
                    <a:pt x="87" y="213"/>
                    <a:pt x="87" y="213"/>
                  </a:cubicBezTo>
                  <a:cubicBezTo>
                    <a:pt x="87" y="219"/>
                    <a:pt x="81" y="224"/>
                    <a:pt x="74" y="224"/>
                  </a:cubicBezTo>
                  <a:cubicBezTo>
                    <a:pt x="54" y="224"/>
                    <a:pt x="54" y="224"/>
                    <a:pt x="54" y="224"/>
                  </a:cubicBezTo>
                  <a:cubicBezTo>
                    <a:pt x="47" y="224"/>
                    <a:pt x="41" y="219"/>
                    <a:pt x="41" y="213"/>
                  </a:cubicBezTo>
                  <a:cubicBezTo>
                    <a:pt x="41" y="208"/>
                    <a:pt x="41" y="208"/>
                    <a:pt x="41" y="208"/>
                  </a:cubicBezTo>
                  <a:cubicBezTo>
                    <a:pt x="28" y="207"/>
                    <a:pt x="18" y="198"/>
                    <a:pt x="18" y="18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29" y="120"/>
                    <a:pt x="29" y="120"/>
                    <a:pt x="29" y="120"/>
                  </a:cubicBezTo>
                  <a:cubicBezTo>
                    <a:pt x="29" y="117"/>
                    <a:pt x="26" y="113"/>
                    <a:pt x="23" y="113"/>
                  </a:cubicBezTo>
                  <a:cubicBezTo>
                    <a:pt x="12" y="109"/>
                    <a:pt x="12" y="109"/>
                    <a:pt x="12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7" y="108"/>
                    <a:pt x="4" y="105"/>
                    <a:pt x="3" y="102"/>
                  </a:cubicBezTo>
                  <a:cubicBezTo>
                    <a:pt x="2" y="98"/>
                    <a:pt x="2" y="98"/>
                    <a:pt x="2" y="98"/>
                  </a:cubicBezTo>
                  <a:cubicBezTo>
                    <a:pt x="2" y="97"/>
                    <a:pt x="2" y="97"/>
                    <a:pt x="2" y="96"/>
                  </a:cubicBezTo>
                  <a:cubicBezTo>
                    <a:pt x="2" y="94"/>
                    <a:pt x="2" y="91"/>
                    <a:pt x="3" y="89"/>
                  </a:cubicBezTo>
                  <a:cubicBezTo>
                    <a:pt x="5" y="87"/>
                    <a:pt x="7" y="85"/>
                    <a:pt x="10" y="84"/>
                  </a:cubicBezTo>
                  <a:cubicBezTo>
                    <a:pt x="105" y="55"/>
                    <a:pt x="105" y="55"/>
                    <a:pt x="105" y="55"/>
                  </a:cubicBezTo>
                  <a:cubicBezTo>
                    <a:pt x="111" y="54"/>
                    <a:pt x="118" y="57"/>
                    <a:pt x="119" y="63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1" y="69"/>
                    <a:pt x="121" y="72"/>
                    <a:pt x="119" y="75"/>
                  </a:cubicBezTo>
                  <a:cubicBezTo>
                    <a:pt x="118" y="78"/>
                    <a:pt x="116" y="80"/>
                    <a:pt x="113" y="81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5" y="100"/>
                    <a:pt x="56" y="103"/>
                    <a:pt x="56" y="105"/>
                  </a:cubicBezTo>
                  <a:cubicBezTo>
                    <a:pt x="56" y="137"/>
                    <a:pt x="56" y="137"/>
                    <a:pt x="56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72" y="109"/>
                    <a:pt x="72" y="109"/>
                    <a:pt x="72" y="109"/>
                  </a:cubicBezTo>
                  <a:cubicBezTo>
                    <a:pt x="72" y="103"/>
                    <a:pt x="77" y="97"/>
                    <a:pt x="82" y="95"/>
                  </a:cubicBezTo>
                  <a:cubicBezTo>
                    <a:pt x="105" y="89"/>
                    <a:pt x="105" y="89"/>
                    <a:pt x="105" y="89"/>
                  </a:cubicBezTo>
                  <a:cubicBezTo>
                    <a:pt x="111" y="87"/>
                    <a:pt x="118" y="91"/>
                    <a:pt x="119" y="96"/>
                  </a:cubicBezTo>
                  <a:cubicBezTo>
                    <a:pt x="120" y="100"/>
                    <a:pt x="120" y="100"/>
                    <a:pt x="120" y="100"/>
                  </a:cubicBezTo>
                  <a:cubicBezTo>
                    <a:pt x="122" y="106"/>
                    <a:pt x="119" y="112"/>
                    <a:pt x="113" y="114"/>
                  </a:cubicBezTo>
                  <a:close/>
                  <a:moveTo>
                    <a:pt x="49" y="93"/>
                  </a:moveTo>
                  <a:cubicBezTo>
                    <a:pt x="111" y="75"/>
                    <a:pt x="111" y="75"/>
                    <a:pt x="111" y="75"/>
                  </a:cubicBezTo>
                  <a:cubicBezTo>
                    <a:pt x="112" y="74"/>
                    <a:pt x="113" y="74"/>
                    <a:pt x="114" y="72"/>
                  </a:cubicBezTo>
                  <a:cubicBezTo>
                    <a:pt x="115" y="71"/>
                    <a:pt x="115" y="70"/>
                    <a:pt x="115" y="68"/>
                  </a:cubicBezTo>
                  <a:cubicBezTo>
                    <a:pt x="113" y="65"/>
                    <a:pt x="113" y="65"/>
                    <a:pt x="113" y="65"/>
                  </a:cubicBezTo>
                  <a:cubicBezTo>
                    <a:pt x="113" y="62"/>
                    <a:pt x="111" y="61"/>
                    <a:pt x="108" y="61"/>
                  </a:cubicBezTo>
                  <a:cubicBezTo>
                    <a:pt x="108" y="61"/>
                    <a:pt x="107" y="61"/>
                    <a:pt x="107" y="61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0" y="90"/>
                    <a:pt x="9" y="91"/>
                    <a:pt x="8" y="92"/>
                  </a:cubicBezTo>
                  <a:cubicBezTo>
                    <a:pt x="8" y="93"/>
                    <a:pt x="8" y="95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10" y="101"/>
                    <a:pt x="11" y="103"/>
                    <a:pt x="12" y="103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31" y="109"/>
                    <a:pt x="35" y="115"/>
                    <a:pt x="35" y="120"/>
                  </a:cubicBezTo>
                  <a:cubicBezTo>
                    <a:pt x="35" y="137"/>
                    <a:pt x="35" y="137"/>
                    <a:pt x="35" y="137"/>
                  </a:cubicBezTo>
                  <a:cubicBezTo>
                    <a:pt x="50" y="137"/>
                    <a:pt x="50" y="137"/>
                    <a:pt x="50" y="137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4"/>
                    <a:pt x="49" y="102"/>
                    <a:pt x="48" y="100"/>
                  </a:cubicBezTo>
                  <a:cubicBezTo>
                    <a:pt x="47" y="99"/>
                    <a:pt x="45" y="98"/>
                    <a:pt x="44" y="97"/>
                  </a:cubicBezTo>
                  <a:cubicBezTo>
                    <a:pt x="44" y="97"/>
                    <a:pt x="40" y="96"/>
                    <a:pt x="49" y="93"/>
                  </a:cubicBezTo>
                  <a:close/>
                  <a:moveTo>
                    <a:pt x="115" y="102"/>
                  </a:moveTo>
                  <a:cubicBezTo>
                    <a:pt x="113" y="98"/>
                    <a:pt x="113" y="98"/>
                    <a:pt x="113" y="98"/>
                  </a:cubicBezTo>
                  <a:cubicBezTo>
                    <a:pt x="113" y="95"/>
                    <a:pt x="110" y="94"/>
                    <a:pt x="107" y="95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81" y="102"/>
                    <a:pt x="78" y="106"/>
                    <a:pt x="78" y="109"/>
                  </a:cubicBezTo>
                  <a:cubicBezTo>
                    <a:pt x="78" y="137"/>
                    <a:pt x="78" y="137"/>
                    <a:pt x="78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3" y="124"/>
                    <a:pt x="93" y="124"/>
                    <a:pt x="93" y="124"/>
                  </a:cubicBezTo>
                  <a:cubicBezTo>
                    <a:pt x="93" y="118"/>
                    <a:pt x="97" y="112"/>
                    <a:pt x="103" y="111"/>
                  </a:cubicBezTo>
                  <a:cubicBezTo>
                    <a:pt x="111" y="108"/>
                    <a:pt x="111" y="108"/>
                    <a:pt x="111" y="108"/>
                  </a:cubicBezTo>
                  <a:cubicBezTo>
                    <a:pt x="114" y="108"/>
                    <a:pt x="115" y="105"/>
                    <a:pt x="115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 useBgFill="1">
        <p:nvSpPr>
          <p:cNvPr id="17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6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809851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7697"/>
            <a:ext cx="7772400" cy="136088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7506"/>
            <a:ext cx="7772400" cy="15001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742C-E43A-4800-A55A-4B3428220156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575972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56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56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A9646E-5F64-4982-A7C2-9E369F0FF39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079685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909"/>
            <a:ext cx="4040188" cy="6393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5272"/>
            <a:ext cx="4040188" cy="395049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30" y="1535909"/>
            <a:ext cx="4041775" cy="639366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30" y="2175272"/>
            <a:ext cx="4041775" cy="3950494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F00424-2EDD-436D-B598-1B6CC97454D4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308387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878B6-E4D6-4E09-8C1D-DEDA36A3C01E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41146572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88616C-0E2C-454A-9186-1B753233191F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015034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5" y="273250"/>
            <a:ext cx="3008313" cy="116264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252"/>
            <a:ext cx="5111750" cy="5852517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5" y="1435894"/>
            <a:ext cx="3008313" cy="46898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7CB9C2-0D0E-425F-B592-DEF40FE652E5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1597438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14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577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6744"/>
            <a:ext cx="5486400" cy="8054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DD5C2F-7F3E-4672-8347-DEFDB1A65569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4917879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56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423E5A-7181-401A-93AD-14220AC98BCA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6192585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5037"/>
            <a:ext cx="2057400" cy="5850731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5037"/>
            <a:ext cx="6019800" cy="5850731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5657AB-AAEA-4101-922E-F405E9E5E7A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785685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5" name="Green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-2619354" y="-790581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-2619354" y="-790581"/>
              <a:ext cx="2827252" cy="2827252"/>
            </a:xfrm>
            <a:prstGeom prst="rect">
              <a:avLst/>
            </a:prstGeom>
            <a:solidFill>
              <a:schemeClr val="accent5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7" name="Play Icon"/>
            <p:cNvSpPr>
              <a:spLocks noEditPoints="1"/>
            </p:cNvSpPr>
            <p:nvPr/>
          </p:nvSpPr>
          <p:spPr bwMode="auto">
            <a:xfrm>
              <a:off x="-2097903" y="-269875"/>
              <a:ext cx="1784350" cy="1784350"/>
            </a:xfrm>
            <a:custGeom>
              <a:avLst/>
              <a:gdLst>
                <a:gd name="T0" fmla="*/ 2147483646 w 224"/>
                <a:gd name="T1" fmla="*/ 2147483646 h 224"/>
                <a:gd name="T2" fmla="*/ 2147483646 w 224"/>
                <a:gd name="T3" fmla="*/ 2147483646 h 224"/>
                <a:gd name="T4" fmla="*/ 2147483646 w 224"/>
                <a:gd name="T5" fmla="*/ 2147483646 h 224"/>
                <a:gd name="T6" fmla="*/ 2147483646 w 224"/>
                <a:gd name="T7" fmla="*/ 2147483646 h 224"/>
                <a:gd name="T8" fmla="*/ 2147483646 w 224"/>
                <a:gd name="T9" fmla="*/ 2147483646 h 224"/>
                <a:gd name="T10" fmla="*/ 2147483646 w 224"/>
                <a:gd name="T11" fmla="*/ 0 h 224"/>
                <a:gd name="T12" fmla="*/ 2147483646 w 224"/>
                <a:gd name="T13" fmla="*/ 2147483646 h 224"/>
                <a:gd name="T14" fmla="*/ 2147483646 w 224"/>
                <a:gd name="T15" fmla="*/ 2147483646 h 224"/>
                <a:gd name="T16" fmla="*/ 0 w 224"/>
                <a:gd name="T17" fmla="*/ 2147483646 h 224"/>
                <a:gd name="T18" fmla="*/ 2147483646 w 224"/>
                <a:gd name="T19" fmla="*/ 0 h 224"/>
                <a:gd name="T20" fmla="*/ 2147483646 w 224"/>
                <a:gd name="T21" fmla="*/ 2147483646 h 224"/>
                <a:gd name="T22" fmla="*/ 2147483646 w 224"/>
                <a:gd name="T23" fmla="*/ 2147483646 h 224"/>
                <a:gd name="T24" fmla="*/ 2147483646 w 224"/>
                <a:gd name="T25" fmla="*/ 2147483646 h 224"/>
                <a:gd name="T26" fmla="*/ 2147483646 w 224"/>
                <a:gd name="T27" fmla="*/ 2147483646 h 224"/>
                <a:gd name="T28" fmla="*/ 2147483646 w 224"/>
                <a:gd name="T29" fmla="*/ 2147483646 h 22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4" h="224">
                  <a:moveTo>
                    <a:pt x="168" y="112"/>
                  </a:moveTo>
                  <a:cubicBezTo>
                    <a:pt x="86" y="173"/>
                    <a:pt x="86" y="173"/>
                    <a:pt x="86" y="173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8" y="112"/>
                    <a:pt x="168" y="112"/>
                    <a:pt x="168" y="112"/>
                  </a:cubicBezTo>
                  <a:close/>
                  <a:moveTo>
                    <a:pt x="112" y="0"/>
                  </a:moveTo>
                  <a:cubicBezTo>
                    <a:pt x="174" y="0"/>
                    <a:pt x="224" y="50"/>
                    <a:pt x="224" y="112"/>
                  </a:cubicBezTo>
                  <a:cubicBezTo>
                    <a:pt x="224" y="174"/>
                    <a:pt x="174" y="224"/>
                    <a:pt x="112" y="224"/>
                  </a:cubicBezTo>
                  <a:cubicBezTo>
                    <a:pt x="51" y="224"/>
                    <a:pt x="0" y="174"/>
                    <a:pt x="0" y="112"/>
                  </a:cubicBezTo>
                  <a:cubicBezTo>
                    <a:pt x="0" y="50"/>
                    <a:pt x="51" y="0"/>
                    <a:pt x="112" y="0"/>
                  </a:cubicBezTo>
                  <a:moveTo>
                    <a:pt x="112" y="216"/>
                  </a:moveTo>
                  <a:cubicBezTo>
                    <a:pt x="170" y="216"/>
                    <a:pt x="216" y="169"/>
                    <a:pt x="216" y="112"/>
                  </a:cubicBezTo>
                  <a:cubicBezTo>
                    <a:pt x="216" y="54"/>
                    <a:pt x="170" y="8"/>
                    <a:pt x="112" y="8"/>
                  </a:cubicBezTo>
                  <a:cubicBezTo>
                    <a:pt x="55" y="8"/>
                    <a:pt x="8" y="54"/>
                    <a:pt x="8" y="112"/>
                  </a:cubicBezTo>
                  <a:cubicBezTo>
                    <a:pt x="8" y="169"/>
                    <a:pt x="55" y="216"/>
                    <a:pt x="112" y="21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5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9972110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5" name="Blue Tile"/>
          <p:cNvGrpSpPr>
            <a:grpSpLocks/>
          </p:cNvGrpSpPr>
          <p:nvPr userDrawn="1"/>
        </p:nvGrpSpPr>
        <p:grpSpPr bwMode="auto">
          <a:xfrm>
            <a:off x="762000" y="3189288"/>
            <a:ext cx="2120900" cy="2827337"/>
            <a:chOff x="1071620" y="3044261"/>
            <a:chExt cx="1325880" cy="1325880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071620" y="3044261"/>
              <a:ext cx="1325880" cy="1325880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316254" y="3284926"/>
              <a:ext cx="836612" cy="841375"/>
            </a:xfrm>
            <a:custGeom>
              <a:avLst/>
              <a:gdLst>
                <a:gd name="T0" fmla="*/ 2147483646 w 223"/>
                <a:gd name="T1" fmla="*/ 2147483646 h 224"/>
                <a:gd name="T2" fmla="*/ 2147483646 w 223"/>
                <a:gd name="T3" fmla="*/ 2147483646 h 224"/>
                <a:gd name="T4" fmla="*/ 2147483646 w 223"/>
                <a:gd name="T5" fmla="*/ 2147483646 h 224"/>
                <a:gd name="T6" fmla="*/ 2147483646 w 223"/>
                <a:gd name="T7" fmla="*/ 2147483646 h 224"/>
                <a:gd name="T8" fmla="*/ 2147483646 w 223"/>
                <a:gd name="T9" fmla="*/ 0 h 224"/>
                <a:gd name="T10" fmla="*/ 2147483646 w 223"/>
                <a:gd name="T11" fmla="*/ 2147483646 h 224"/>
                <a:gd name="T12" fmla="*/ 2147483646 w 223"/>
                <a:gd name="T13" fmla="*/ 2147483646 h 224"/>
                <a:gd name="T14" fmla="*/ 2147483646 w 223"/>
                <a:gd name="T15" fmla="*/ 2147483646 h 224"/>
                <a:gd name="T16" fmla="*/ 2147483646 w 223"/>
                <a:gd name="T17" fmla="*/ 2147483646 h 224"/>
                <a:gd name="T18" fmla="*/ 0 w 223"/>
                <a:gd name="T19" fmla="*/ 2147483646 h 224"/>
                <a:gd name="T20" fmla="*/ 2147483646 w 223"/>
                <a:gd name="T21" fmla="*/ 2147483646 h 224"/>
                <a:gd name="T22" fmla="*/ 2147483646 w 223"/>
                <a:gd name="T23" fmla="*/ 2147483646 h 224"/>
                <a:gd name="T24" fmla="*/ 2147483646 w 223"/>
                <a:gd name="T25" fmla="*/ 2147483646 h 224"/>
                <a:gd name="T26" fmla="*/ 2147483646 w 223"/>
                <a:gd name="T27" fmla="*/ 2147483646 h 224"/>
                <a:gd name="T28" fmla="*/ 2147483646 w 223"/>
                <a:gd name="T29" fmla="*/ 2147483646 h 224"/>
                <a:gd name="T30" fmla="*/ 2147483646 w 223"/>
                <a:gd name="T31" fmla="*/ 2147483646 h 224"/>
                <a:gd name="T32" fmla="*/ 2147483646 w 223"/>
                <a:gd name="T33" fmla="*/ 2147483646 h 224"/>
                <a:gd name="T34" fmla="*/ 2147483646 w 223"/>
                <a:gd name="T35" fmla="*/ 2147483646 h 224"/>
                <a:gd name="T36" fmla="*/ 2147483646 w 223"/>
                <a:gd name="T37" fmla="*/ 2147483646 h 224"/>
                <a:gd name="T38" fmla="*/ 2147483646 w 223"/>
                <a:gd name="T39" fmla="*/ 2147483646 h 224"/>
                <a:gd name="T40" fmla="*/ 2147483646 w 223"/>
                <a:gd name="T41" fmla="*/ 2147483646 h 224"/>
                <a:gd name="T42" fmla="*/ 2147483646 w 223"/>
                <a:gd name="T43" fmla="*/ 2147483646 h 224"/>
                <a:gd name="T44" fmla="*/ 2147483646 w 223"/>
                <a:gd name="T45" fmla="*/ 2147483646 h 224"/>
                <a:gd name="T46" fmla="*/ 2147483646 w 223"/>
                <a:gd name="T47" fmla="*/ 2147483646 h 224"/>
                <a:gd name="T48" fmla="*/ 2147483646 w 223"/>
                <a:gd name="T49" fmla="*/ 2147483646 h 224"/>
                <a:gd name="T50" fmla="*/ 2147483646 w 223"/>
                <a:gd name="T51" fmla="*/ 2147483646 h 224"/>
                <a:gd name="T52" fmla="*/ 2147483646 w 223"/>
                <a:gd name="T53" fmla="*/ 2147483646 h 224"/>
                <a:gd name="T54" fmla="*/ 2147483646 w 223"/>
                <a:gd name="T55" fmla="*/ 2147483646 h 224"/>
                <a:gd name="T56" fmla="*/ 2147483646 w 223"/>
                <a:gd name="T57" fmla="*/ 2147483646 h 224"/>
                <a:gd name="T58" fmla="*/ 2147483646 w 223"/>
                <a:gd name="T59" fmla="*/ 2147483646 h 224"/>
                <a:gd name="T60" fmla="*/ 2147483646 w 223"/>
                <a:gd name="T61" fmla="*/ 2147483646 h 224"/>
                <a:gd name="T62" fmla="*/ 2147483646 w 223"/>
                <a:gd name="T63" fmla="*/ 2147483646 h 224"/>
                <a:gd name="T64" fmla="*/ 2147483646 w 223"/>
                <a:gd name="T65" fmla="*/ 2147483646 h 224"/>
                <a:gd name="T66" fmla="*/ 2147483646 w 223"/>
                <a:gd name="T67" fmla="*/ 2147483646 h 224"/>
                <a:gd name="T68" fmla="*/ 2147483646 w 223"/>
                <a:gd name="T69" fmla="*/ 2147483646 h 224"/>
                <a:gd name="T70" fmla="*/ 2147483646 w 223"/>
                <a:gd name="T71" fmla="*/ 2147483646 h 22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3" h="224">
                  <a:moveTo>
                    <a:pt x="183" y="108"/>
                  </a:moveTo>
                  <a:cubicBezTo>
                    <a:pt x="172" y="108"/>
                    <a:pt x="162" y="113"/>
                    <a:pt x="154" y="120"/>
                  </a:cubicBezTo>
                  <a:cubicBezTo>
                    <a:pt x="135" y="101"/>
                    <a:pt x="135" y="101"/>
                    <a:pt x="135" y="101"/>
                  </a:cubicBezTo>
                  <a:cubicBezTo>
                    <a:pt x="147" y="90"/>
                    <a:pt x="154" y="75"/>
                    <a:pt x="154" y="59"/>
                  </a:cubicBezTo>
                  <a:cubicBezTo>
                    <a:pt x="154" y="26"/>
                    <a:pt x="128" y="0"/>
                    <a:pt x="96" y="0"/>
                  </a:cubicBezTo>
                  <a:cubicBezTo>
                    <a:pt x="64" y="0"/>
                    <a:pt x="37" y="26"/>
                    <a:pt x="37" y="59"/>
                  </a:cubicBezTo>
                  <a:cubicBezTo>
                    <a:pt x="37" y="79"/>
                    <a:pt x="48" y="97"/>
                    <a:pt x="64" y="107"/>
                  </a:cubicBezTo>
                  <a:cubicBezTo>
                    <a:pt x="52" y="145"/>
                    <a:pt x="52" y="145"/>
                    <a:pt x="52" y="145"/>
                  </a:cubicBezTo>
                  <a:cubicBezTo>
                    <a:pt x="49" y="144"/>
                    <a:pt x="45" y="143"/>
                    <a:pt x="41" y="143"/>
                  </a:cubicBezTo>
                  <a:cubicBezTo>
                    <a:pt x="18" y="143"/>
                    <a:pt x="0" y="161"/>
                    <a:pt x="0" y="183"/>
                  </a:cubicBezTo>
                  <a:cubicBezTo>
                    <a:pt x="0" y="206"/>
                    <a:pt x="18" y="224"/>
                    <a:pt x="41" y="224"/>
                  </a:cubicBezTo>
                  <a:cubicBezTo>
                    <a:pt x="63" y="224"/>
                    <a:pt x="81" y="206"/>
                    <a:pt x="81" y="183"/>
                  </a:cubicBezTo>
                  <a:cubicBezTo>
                    <a:pt x="81" y="168"/>
                    <a:pt x="72" y="155"/>
                    <a:pt x="60" y="148"/>
                  </a:cubicBezTo>
                  <a:cubicBezTo>
                    <a:pt x="71" y="111"/>
                    <a:pt x="71" y="111"/>
                    <a:pt x="71" y="111"/>
                  </a:cubicBezTo>
                  <a:cubicBezTo>
                    <a:pt x="78" y="115"/>
                    <a:pt x="87" y="117"/>
                    <a:pt x="96" y="117"/>
                  </a:cubicBezTo>
                  <a:cubicBezTo>
                    <a:pt x="108" y="117"/>
                    <a:pt x="120" y="113"/>
                    <a:pt x="129" y="106"/>
                  </a:cubicBezTo>
                  <a:cubicBezTo>
                    <a:pt x="149" y="126"/>
                    <a:pt x="149" y="126"/>
                    <a:pt x="149" y="126"/>
                  </a:cubicBezTo>
                  <a:cubicBezTo>
                    <a:pt x="145" y="133"/>
                    <a:pt x="143" y="140"/>
                    <a:pt x="143" y="148"/>
                  </a:cubicBezTo>
                  <a:cubicBezTo>
                    <a:pt x="143" y="171"/>
                    <a:pt x="161" y="189"/>
                    <a:pt x="183" y="189"/>
                  </a:cubicBezTo>
                  <a:cubicBezTo>
                    <a:pt x="205" y="189"/>
                    <a:pt x="223" y="171"/>
                    <a:pt x="223" y="148"/>
                  </a:cubicBezTo>
                  <a:cubicBezTo>
                    <a:pt x="223" y="126"/>
                    <a:pt x="205" y="108"/>
                    <a:pt x="183" y="108"/>
                  </a:cubicBezTo>
                  <a:close/>
                  <a:moveTo>
                    <a:pt x="73" y="183"/>
                  </a:moveTo>
                  <a:cubicBezTo>
                    <a:pt x="73" y="201"/>
                    <a:pt x="58" y="216"/>
                    <a:pt x="41" y="216"/>
                  </a:cubicBezTo>
                  <a:cubicBezTo>
                    <a:pt x="23" y="216"/>
                    <a:pt x="8" y="201"/>
                    <a:pt x="8" y="183"/>
                  </a:cubicBezTo>
                  <a:cubicBezTo>
                    <a:pt x="8" y="166"/>
                    <a:pt x="23" y="151"/>
                    <a:pt x="41" y="151"/>
                  </a:cubicBezTo>
                  <a:cubicBezTo>
                    <a:pt x="58" y="151"/>
                    <a:pt x="73" y="166"/>
                    <a:pt x="73" y="183"/>
                  </a:cubicBezTo>
                  <a:close/>
                  <a:moveTo>
                    <a:pt x="45" y="59"/>
                  </a:moveTo>
                  <a:cubicBezTo>
                    <a:pt x="45" y="31"/>
                    <a:pt x="68" y="8"/>
                    <a:pt x="96" y="8"/>
                  </a:cubicBezTo>
                  <a:cubicBezTo>
                    <a:pt x="123" y="8"/>
                    <a:pt x="146" y="31"/>
                    <a:pt x="146" y="59"/>
                  </a:cubicBezTo>
                  <a:cubicBezTo>
                    <a:pt x="146" y="86"/>
                    <a:pt x="123" y="109"/>
                    <a:pt x="96" y="109"/>
                  </a:cubicBezTo>
                  <a:cubicBezTo>
                    <a:pt x="68" y="109"/>
                    <a:pt x="45" y="86"/>
                    <a:pt x="45" y="59"/>
                  </a:cubicBezTo>
                  <a:close/>
                  <a:moveTo>
                    <a:pt x="183" y="181"/>
                  </a:moveTo>
                  <a:cubicBezTo>
                    <a:pt x="165" y="181"/>
                    <a:pt x="151" y="166"/>
                    <a:pt x="151" y="148"/>
                  </a:cubicBezTo>
                  <a:cubicBezTo>
                    <a:pt x="151" y="130"/>
                    <a:pt x="165" y="116"/>
                    <a:pt x="183" y="116"/>
                  </a:cubicBezTo>
                  <a:cubicBezTo>
                    <a:pt x="201" y="116"/>
                    <a:pt x="215" y="130"/>
                    <a:pt x="215" y="148"/>
                  </a:cubicBezTo>
                  <a:cubicBezTo>
                    <a:pt x="215" y="166"/>
                    <a:pt x="201" y="181"/>
                    <a:pt x="183" y="1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67043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5" name="Purple Tile"/>
          <p:cNvGrpSpPr>
            <a:grpSpLocks/>
          </p:cNvGrpSpPr>
          <p:nvPr userDrawn="1"/>
        </p:nvGrpSpPr>
        <p:grpSpPr bwMode="auto">
          <a:xfrm>
            <a:off x="763588" y="3187700"/>
            <a:ext cx="2120900" cy="2827338"/>
            <a:chOff x="1022073" y="-1624298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1022073" y="-1624298"/>
              <a:ext cx="2827252" cy="282725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1537798" y="-867430"/>
              <a:ext cx="1792288" cy="1501775"/>
            </a:xfrm>
            <a:custGeom>
              <a:avLst/>
              <a:gdLst>
                <a:gd name="T0" fmla="*/ 2147483646 w 223"/>
                <a:gd name="T1" fmla="*/ 2147483646 h 187"/>
                <a:gd name="T2" fmla="*/ 2147483646 w 223"/>
                <a:gd name="T3" fmla="*/ 2147483646 h 187"/>
                <a:gd name="T4" fmla="*/ 2147483646 w 223"/>
                <a:gd name="T5" fmla="*/ 2147483646 h 187"/>
                <a:gd name="T6" fmla="*/ 2147483646 w 223"/>
                <a:gd name="T7" fmla="*/ 2147483646 h 187"/>
                <a:gd name="T8" fmla="*/ 0 w 223"/>
                <a:gd name="T9" fmla="*/ 2147483646 h 187"/>
                <a:gd name="T10" fmla="*/ 0 w 223"/>
                <a:gd name="T11" fmla="*/ 2147483646 h 187"/>
                <a:gd name="T12" fmla="*/ 2147483646 w 223"/>
                <a:gd name="T13" fmla="*/ 0 h 187"/>
                <a:gd name="T14" fmla="*/ 2147483646 w 223"/>
                <a:gd name="T15" fmla="*/ 0 h 187"/>
                <a:gd name="T16" fmla="*/ 2147483646 w 223"/>
                <a:gd name="T17" fmla="*/ 2147483646 h 187"/>
                <a:gd name="T18" fmla="*/ 2147483646 w 223"/>
                <a:gd name="T19" fmla="*/ 2147483646 h 187"/>
                <a:gd name="T20" fmla="*/ 2147483646 w 223"/>
                <a:gd name="T21" fmla="*/ 2147483646 h 187"/>
                <a:gd name="T22" fmla="*/ 2147483646 w 223"/>
                <a:gd name="T23" fmla="*/ 2147483646 h 187"/>
                <a:gd name="T24" fmla="*/ 2147483646 w 223"/>
                <a:gd name="T25" fmla="*/ 2147483646 h 187"/>
                <a:gd name="T26" fmla="*/ 2147483646 w 223"/>
                <a:gd name="T27" fmla="*/ 2147483646 h 187"/>
                <a:gd name="T28" fmla="*/ 2147483646 w 223"/>
                <a:gd name="T29" fmla="*/ 2147483646 h 187"/>
                <a:gd name="T30" fmla="*/ 2147483646 w 223"/>
                <a:gd name="T31" fmla="*/ 2147483646 h 187"/>
                <a:gd name="T32" fmla="*/ 2147483646 w 223"/>
                <a:gd name="T33" fmla="*/ 2147483646 h 187"/>
                <a:gd name="T34" fmla="*/ 2147483646 w 223"/>
                <a:gd name="T35" fmla="*/ 2147483646 h 187"/>
                <a:gd name="T36" fmla="*/ 2147483646 w 223"/>
                <a:gd name="T37" fmla="*/ 2147483646 h 187"/>
                <a:gd name="T38" fmla="*/ 2147483646 w 223"/>
                <a:gd name="T39" fmla="*/ 2147483646 h 187"/>
                <a:gd name="T40" fmla="*/ 2147483646 w 223"/>
                <a:gd name="T41" fmla="*/ 2147483646 h 187"/>
                <a:gd name="T42" fmla="*/ 2147483646 w 223"/>
                <a:gd name="T43" fmla="*/ 2147483646 h 187"/>
                <a:gd name="T44" fmla="*/ 2147483646 w 223"/>
                <a:gd name="T45" fmla="*/ 2147483646 h 187"/>
                <a:gd name="T46" fmla="*/ 2147483646 w 223"/>
                <a:gd name="T47" fmla="*/ 2147483646 h 187"/>
                <a:gd name="T48" fmla="*/ 2147483646 w 223"/>
                <a:gd name="T49" fmla="*/ 2147483646 h 187"/>
                <a:gd name="T50" fmla="*/ 2147483646 w 223"/>
                <a:gd name="T51" fmla="*/ 2147483646 h 187"/>
                <a:gd name="T52" fmla="*/ 2147483646 w 223"/>
                <a:gd name="T53" fmla="*/ 2147483646 h 18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23" h="187">
                  <a:moveTo>
                    <a:pt x="184" y="187"/>
                  </a:moveTo>
                  <a:cubicBezTo>
                    <a:pt x="183" y="187"/>
                    <a:pt x="182" y="187"/>
                    <a:pt x="181" y="186"/>
                  </a:cubicBezTo>
                  <a:cubicBezTo>
                    <a:pt x="146" y="151"/>
                    <a:pt x="146" y="151"/>
                    <a:pt x="146" y="151"/>
                  </a:cubicBezTo>
                  <a:cubicBezTo>
                    <a:pt x="40" y="151"/>
                    <a:pt x="40" y="151"/>
                    <a:pt x="40" y="151"/>
                  </a:cubicBezTo>
                  <a:cubicBezTo>
                    <a:pt x="18" y="151"/>
                    <a:pt x="0" y="133"/>
                    <a:pt x="0" y="111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18"/>
                    <a:pt x="18" y="0"/>
                    <a:pt x="40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205" y="0"/>
                    <a:pt x="223" y="18"/>
                    <a:pt x="223" y="40"/>
                  </a:cubicBezTo>
                  <a:cubicBezTo>
                    <a:pt x="223" y="111"/>
                    <a:pt x="223" y="111"/>
                    <a:pt x="223" y="111"/>
                  </a:cubicBezTo>
                  <a:cubicBezTo>
                    <a:pt x="223" y="132"/>
                    <a:pt x="208" y="148"/>
                    <a:pt x="188" y="150"/>
                  </a:cubicBezTo>
                  <a:cubicBezTo>
                    <a:pt x="188" y="183"/>
                    <a:pt x="188" y="183"/>
                    <a:pt x="188" y="183"/>
                  </a:cubicBezTo>
                  <a:cubicBezTo>
                    <a:pt x="188" y="185"/>
                    <a:pt x="187" y="186"/>
                    <a:pt x="185" y="187"/>
                  </a:cubicBezTo>
                  <a:cubicBezTo>
                    <a:pt x="185" y="187"/>
                    <a:pt x="184" y="187"/>
                    <a:pt x="184" y="187"/>
                  </a:cubicBezTo>
                  <a:moveTo>
                    <a:pt x="40" y="8"/>
                  </a:moveTo>
                  <a:cubicBezTo>
                    <a:pt x="22" y="8"/>
                    <a:pt x="8" y="23"/>
                    <a:pt x="8" y="40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28"/>
                    <a:pt x="22" y="143"/>
                    <a:pt x="40" y="143"/>
                  </a:cubicBezTo>
                  <a:cubicBezTo>
                    <a:pt x="148" y="143"/>
                    <a:pt x="148" y="143"/>
                    <a:pt x="148" y="143"/>
                  </a:cubicBezTo>
                  <a:cubicBezTo>
                    <a:pt x="149" y="143"/>
                    <a:pt x="150" y="143"/>
                    <a:pt x="151" y="144"/>
                  </a:cubicBezTo>
                  <a:cubicBezTo>
                    <a:pt x="180" y="173"/>
                    <a:pt x="180" y="173"/>
                    <a:pt x="180" y="173"/>
                  </a:cubicBezTo>
                  <a:cubicBezTo>
                    <a:pt x="180" y="147"/>
                    <a:pt x="180" y="147"/>
                    <a:pt x="180" y="147"/>
                  </a:cubicBezTo>
                  <a:cubicBezTo>
                    <a:pt x="180" y="144"/>
                    <a:pt x="182" y="143"/>
                    <a:pt x="184" y="143"/>
                  </a:cubicBezTo>
                  <a:cubicBezTo>
                    <a:pt x="201" y="143"/>
                    <a:pt x="215" y="129"/>
                    <a:pt x="215" y="111"/>
                  </a:cubicBezTo>
                  <a:cubicBezTo>
                    <a:pt x="215" y="40"/>
                    <a:pt x="215" y="40"/>
                    <a:pt x="215" y="40"/>
                  </a:cubicBezTo>
                  <a:cubicBezTo>
                    <a:pt x="215" y="23"/>
                    <a:pt x="200" y="8"/>
                    <a:pt x="183" y="8"/>
                  </a:cubicBezTo>
                  <a:lnTo>
                    <a:pt x="40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2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3280511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nouncement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5" name="Orange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1351800" y="-1084759"/>
            <a:chExt cx="2827252" cy="2827252"/>
          </a:xfrm>
        </p:grpSpPr>
        <p:sp>
          <p:nvSpPr>
            <p:cNvPr id="16" name="Rectangle 17"/>
            <p:cNvSpPr/>
            <p:nvPr/>
          </p:nvSpPr>
          <p:spPr bwMode="auto">
            <a:xfrm>
              <a:off x="1351800" y="-1084759"/>
              <a:ext cx="2827252" cy="2827252"/>
            </a:xfrm>
            <a:prstGeom prst="rect">
              <a:avLst/>
            </a:prstGeom>
            <a:solidFill>
              <a:schemeClr val="accent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7" name="Freeform 21"/>
            <p:cNvSpPr>
              <a:spLocks noEditPoints="1"/>
            </p:cNvSpPr>
            <p:nvPr/>
          </p:nvSpPr>
          <p:spPr bwMode="auto">
            <a:xfrm>
              <a:off x="2005011" y="-436308"/>
              <a:ext cx="1522413" cy="1530350"/>
            </a:xfrm>
            <a:custGeom>
              <a:avLst/>
              <a:gdLst>
                <a:gd name="T0" fmla="*/ 2147483646 w 187"/>
                <a:gd name="T1" fmla="*/ 2147483646 h 188"/>
                <a:gd name="T2" fmla="*/ 2147483646 w 187"/>
                <a:gd name="T3" fmla="*/ 2147483646 h 188"/>
                <a:gd name="T4" fmla="*/ 2147483646 w 187"/>
                <a:gd name="T5" fmla="*/ 2147483646 h 188"/>
                <a:gd name="T6" fmla="*/ 2147483646 w 187"/>
                <a:gd name="T7" fmla="*/ 2147483646 h 188"/>
                <a:gd name="T8" fmla="*/ 2147483646 w 187"/>
                <a:gd name="T9" fmla="*/ 2147483646 h 188"/>
                <a:gd name="T10" fmla="*/ 2147483646 w 187"/>
                <a:gd name="T11" fmla="*/ 2147483646 h 188"/>
                <a:gd name="T12" fmla="*/ 2147483646 w 187"/>
                <a:gd name="T13" fmla="*/ 0 h 188"/>
                <a:gd name="T14" fmla="*/ 2147483646 w 187"/>
                <a:gd name="T15" fmla="*/ 0 h 188"/>
                <a:gd name="T16" fmla="*/ 2147483646 w 187"/>
                <a:gd name="T17" fmla="*/ 2147483646 h 188"/>
                <a:gd name="T18" fmla="*/ 2147483646 w 187"/>
                <a:gd name="T19" fmla="*/ 2147483646 h 188"/>
                <a:gd name="T20" fmla="*/ 2147483646 w 187"/>
                <a:gd name="T21" fmla="*/ 2147483646 h 188"/>
                <a:gd name="T22" fmla="*/ 2147483646 w 187"/>
                <a:gd name="T23" fmla="*/ 2147483646 h 188"/>
                <a:gd name="T24" fmla="*/ 0 w 187"/>
                <a:gd name="T25" fmla="*/ 2147483646 h 188"/>
                <a:gd name="T26" fmla="*/ 2147483646 w 187"/>
                <a:gd name="T27" fmla="*/ 2147483646 h 188"/>
                <a:gd name="T28" fmla="*/ 2147483646 w 187"/>
                <a:gd name="T29" fmla="*/ 2147483646 h 188"/>
                <a:gd name="T30" fmla="*/ 2147483646 w 187"/>
                <a:gd name="T31" fmla="*/ 2147483646 h 188"/>
                <a:gd name="T32" fmla="*/ 2147483646 w 187"/>
                <a:gd name="T33" fmla="*/ 2147483646 h 188"/>
                <a:gd name="T34" fmla="*/ 2147483646 w 187"/>
                <a:gd name="T35" fmla="*/ 2147483646 h 18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7" h="188">
                  <a:moveTo>
                    <a:pt x="6" y="188"/>
                  </a:moveTo>
                  <a:cubicBezTo>
                    <a:pt x="129" y="64"/>
                    <a:pt x="129" y="64"/>
                    <a:pt x="129" y="64"/>
                  </a:cubicBezTo>
                  <a:cubicBezTo>
                    <a:pt x="180" y="115"/>
                    <a:pt x="180" y="115"/>
                    <a:pt x="180" y="115"/>
                  </a:cubicBezTo>
                  <a:cubicBezTo>
                    <a:pt x="181" y="116"/>
                    <a:pt x="183" y="117"/>
                    <a:pt x="185" y="116"/>
                  </a:cubicBezTo>
                  <a:cubicBezTo>
                    <a:pt x="186" y="116"/>
                    <a:pt x="187" y="114"/>
                    <a:pt x="187" y="112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7" y="2"/>
                    <a:pt x="185" y="0"/>
                    <a:pt x="1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3" y="0"/>
                    <a:pt x="72" y="1"/>
                    <a:pt x="71" y="3"/>
                  </a:cubicBezTo>
                  <a:cubicBezTo>
                    <a:pt x="71" y="3"/>
                    <a:pt x="71" y="4"/>
                    <a:pt x="71" y="4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123" y="58"/>
                    <a:pt x="123" y="58"/>
                    <a:pt x="123" y="58"/>
                  </a:cubicBezTo>
                  <a:cubicBezTo>
                    <a:pt x="0" y="182"/>
                    <a:pt x="0" y="182"/>
                    <a:pt x="0" y="182"/>
                  </a:cubicBezTo>
                  <a:lnTo>
                    <a:pt x="6" y="188"/>
                  </a:lnTo>
                  <a:close/>
                  <a:moveTo>
                    <a:pt x="179" y="8"/>
                  </a:moveTo>
                  <a:cubicBezTo>
                    <a:pt x="179" y="103"/>
                    <a:pt x="179" y="103"/>
                    <a:pt x="179" y="103"/>
                  </a:cubicBezTo>
                  <a:cubicBezTo>
                    <a:pt x="85" y="8"/>
                    <a:pt x="85" y="8"/>
                    <a:pt x="85" y="8"/>
                  </a:cubicBezTo>
                  <a:lnTo>
                    <a:pt x="179" y="8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3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811401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tc., &quot;special&quot; slide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Tile"/>
          <p:cNvSpPr/>
          <p:nvPr userDrawn="1"/>
        </p:nvSpPr>
        <p:spPr bwMode="auto">
          <a:xfrm>
            <a:off x="3008313" y="3187700"/>
            <a:ext cx="5373687" cy="2822575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" name="Arrow Bar"/>
          <p:cNvSpPr/>
          <p:nvPr userDrawn="1"/>
        </p:nvSpPr>
        <p:spPr bwMode="auto">
          <a:xfrm>
            <a:off x="3008313" y="1514475"/>
            <a:ext cx="5373687" cy="1500188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8" name="Left Mask"/>
          <p:cNvSpPr/>
          <p:nvPr userDrawn="1"/>
        </p:nvSpPr>
        <p:spPr bwMode="auto">
          <a:xfrm>
            <a:off x="0" y="1514475"/>
            <a:ext cx="3008313" cy="1500188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9" name="Circle Arrow"/>
          <p:cNvSpPr>
            <a:spLocks noEditPoints="1"/>
          </p:cNvSpPr>
          <p:nvPr userDrawn="1"/>
        </p:nvSpPr>
        <p:spPr bwMode="auto">
          <a:xfrm rot="5400000">
            <a:off x="7358063" y="1978025"/>
            <a:ext cx="841375" cy="631825"/>
          </a:xfrm>
          <a:custGeom>
            <a:avLst/>
            <a:gdLst>
              <a:gd name="T0" fmla="*/ 112 w 224"/>
              <a:gd name="T1" fmla="*/ 0 h 224"/>
              <a:gd name="T2" fmla="*/ 0 w 224"/>
              <a:gd name="T3" fmla="*/ 112 h 224"/>
              <a:gd name="T4" fmla="*/ 112 w 224"/>
              <a:gd name="T5" fmla="*/ 224 h 224"/>
              <a:gd name="T6" fmla="*/ 224 w 224"/>
              <a:gd name="T7" fmla="*/ 112 h 224"/>
              <a:gd name="T8" fmla="*/ 112 w 224"/>
              <a:gd name="T9" fmla="*/ 0 h 224"/>
              <a:gd name="T10" fmla="*/ 112 w 224"/>
              <a:gd name="T11" fmla="*/ 216 h 224"/>
              <a:gd name="T12" fmla="*/ 8 w 224"/>
              <a:gd name="T13" fmla="*/ 112 h 224"/>
              <a:gd name="T14" fmla="*/ 112 w 224"/>
              <a:gd name="T15" fmla="*/ 8 h 224"/>
              <a:gd name="T16" fmla="*/ 216 w 224"/>
              <a:gd name="T17" fmla="*/ 112 h 224"/>
              <a:gd name="T18" fmla="*/ 112 w 224"/>
              <a:gd name="T19" fmla="*/ 216 h 224"/>
              <a:gd name="T20" fmla="*/ 161 w 224"/>
              <a:gd name="T21" fmla="*/ 94 h 224"/>
              <a:gd name="T22" fmla="*/ 169 w 224"/>
              <a:gd name="T23" fmla="*/ 94 h 224"/>
              <a:gd name="T24" fmla="*/ 169 w 224"/>
              <a:gd name="T25" fmla="*/ 166 h 224"/>
              <a:gd name="T26" fmla="*/ 165 w 224"/>
              <a:gd name="T27" fmla="*/ 170 h 224"/>
              <a:gd name="T28" fmla="*/ 93 w 224"/>
              <a:gd name="T29" fmla="*/ 170 h 224"/>
              <a:gd name="T30" fmla="*/ 93 w 224"/>
              <a:gd name="T31" fmla="*/ 162 h 224"/>
              <a:gd name="T32" fmla="*/ 156 w 224"/>
              <a:gd name="T33" fmla="*/ 162 h 224"/>
              <a:gd name="T34" fmla="*/ 58 w 224"/>
              <a:gd name="T35" fmla="*/ 65 h 224"/>
              <a:gd name="T36" fmla="*/ 64 w 224"/>
              <a:gd name="T37" fmla="*/ 59 h 224"/>
              <a:gd name="T38" fmla="*/ 161 w 224"/>
              <a:gd name="T39" fmla="*/ 156 h 224"/>
              <a:gd name="T40" fmla="*/ 161 w 224"/>
              <a:gd name="T41" fmla="*/ 9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224">
                <a:moveTo>
                  <a:pt x="112" y="0"/>
                </a:moveTo>
                <a:cubicBezTo>
                  <a:pt x="50" y="0"/>
                  <a:pt x="0" y="50"/>
                  <a:pt x="0" y="112"/>
                </a:cubicBezTo>
                <a:cubicBezTo>
                  <a:pt x="0" y="174"/>
                  <a:pt x="50" y="224"/>
                  <a:pt x="112" y="224"/>
                </a:cubicBezTo>
                <a:cubicBezTo>
                  <a:pt x="173" y="224"/>
                  <a:pt x="224" y="174"/>
                  <a:pt x="224" y="112"/>
                </a:cubicBezTo>
                <a:cubicBezTo>
                  <a:pt x="224" y="50"/>
                  <a:pt x="173" y="0"/>
                  <a:pt x="112" y="0"/>
                </a:cubicBezTo>
                <a:close/>
                <a:moveTo>
                  <a:pt x="112" y="216"/>
                </a:moveTo>
                <a:cubicBezTo>
                  <a:pt x="54" y="216"/>
                  <a:pt x="8" y="169"/>
                  <a:pt x="8" y="112"/>
                </a:cubicBezTo>
                <a:cubicBezTo>
                  <a:pt x="8" y="54"/>
                  <a:pt x="54" y="8"/>
                  <a:pt x="112" y="8"/>
                </a:cubicBezTo>
                <a:cubicBezTo>
                  <a:pt x="169" y="8"/>
                  <a:pt x="216" y="54"/>
                  <a:pt x="216" y="112"/>
                </a:cubicBezTo>
                <a:cubicBezTo>
                  <a:pt x="216" y="169"/>
                  <a:pt x="169" y="216"/>
                  <a:pt x="112" y="216"/>
                </a:cubicBezTo>
                <a:close/>
                <a:moveTo>
                  <a:pt x="161" y="94"/>
                </a:moveTo>
                <a:cubicBezTo>
                  <a:pt x="169" y="94"/>
                  <a:pt x="169" y="94"/>
                  <a:pt x="169" y="94"/>
                </a:cubicBezTo>
                <a:cubicBezTo>
                  <a:pt x="169" y="166"/>
                  <a:pt x="169" y="166"/>
                  <a:pt x="169" y="166"/>
                </a:cubicBezTo>
                <a:cubicBezTo>
                  <a:pt x="169" y="168"/>
                  <a:pt x="168" y="170"/>
                  <a:pt x="165" y="170"/>
                </a:cubicBezTo>
                <a:cubicBezTo>
                  <a:pt x="93" y="170"/>
                  <a:pt x="93" y="170"/>
                  <a:pt x="93" y="170"/>
                </a:cubicBezTo>
                <a:cubicBezTo>
                  <a:pt x="93" y="162"/>
                  <a:pt x="93" y="162"/>
                  <a:pt x="93" y="162"/>
                </a:cubicBezTo>
                <a:cubicBezTo>
                  <a:pt x="156" y="162"/>
                  <a:pt x="156" y="162"/>
                  <a:pt x="156" y="162"/>
                </a:cubicBezTo>
                <a:cubicBezTo>
                  <a:pt x="58" y="65"/>
                  <a:pt x="58" y="65"/>
                  <a:pt x="58" y="65"/>
                </a:cubicBezTo>
                <a:cubicBezTo>
                  <a:pt x="64" y="59"/>
                  <a:pt x="64" y="59"/>
                  <a:pt x="64" y="59"/>
                </a:cubicBezTo>
                <a:cubicBezTo>
                  <a:pt x="161" y="156"/>
                  <a:pt x="161" y="156"/>
                  <a:pt x="161" y="156"/>
                </a:cubicBezTo>
                <a:lnTo>
                  <a:pt x="161" y="94"/>
                </a:lnTo>
                <a:close/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txBody>
          <a:bodyPr lIns="68551" tIns="34276" rIns="68551" bIns="34276"/>
          <a:lstStyle/>
          <a:p>
            <a:pPr>
              <a:defRPr/>
            </a:pPr>
            <a:endParaRPr lang="en-US" sz="1400" dirty="0"/>
          </a:p>
        </p:txBody>
      </p:sp>
      <p:sp>
        <p:nvSpPr>
          <p:cNvPr id="10" name="TechEd Tile"/>
          <p:cNvSpPr/>
          <p:nvPr userDrawn="1"/>
        </p:nvSpPr>
        <p:spPr bwMode="auto">
          <a:xfrm>
            <a:off x="766763" y="1514475"/>
            <a:ext cx="2119312" cy="1500188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pic>
        <p:nvPicPr>
          <p:cNvPr id="11" name="TechEd Logo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30"/>
          <a:stretch>
            <a:fillRect/>
          </a:stretch>
        </p:blipFill>
        <p:spPr bwMode="auto">
          <a:xfrm>
            <a:off x="1050925" y="1743075"/>
            <a:ext cx="1550988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 useBgFill="1">
        <p:nvSpPr>
          <p:cNvPr id="12" name="Top Mask"/>
          <p:cNvSpPr/>
          <p:nvPr userDrawn="1"/>
        </p:nvSpPr>
        <p:spPr bwMode="auto">
          <a:xfrm>
            <a:off x="0" y="0"/>
            <a:ext cx="9144000" cy="15144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3" name="Right Mask"/>
          <p:cNvSpPr/>
          <p:nvPr userDrawn="1"/>
        </p:nvSpPr>
        <p:spPr bwMode="auto">
          <a:xfrm>
            <a:off x="8382000" y="1630363"/>
            <a:ext cx="762000" cy="415607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 useBgFill="1">
        <p:nvSpPr>
          <p:cNvPr id="14" name="Bottom Mask"/>
          <p:cNvSpPr/>
          <p:nvPr userDrawn="1"/>
        </p:nvSpPr>
        <p:spPr bwMode="auto">
          <a:xfrm>
            <a:off x="3008313" y="6010275"/>
            <a:ext cx="6135687" cy="847725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47" tIns="34275" rIns="68547" bIns="34275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en-US" altLang="zh-CN" sz="1700" smtClean="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15" name="Teal Tile"/>
          <p:cNvGrpSpPr>
            <a:grpSpLocks/>
          </p:cNvGrpSpPr>
          <p:nvPr userDrawn="1"/>
        </p:nvGrpSpPr>
        <p:grpSpPr bwMode="auto">
          <a:xfrm>
            <a:off x="762000" y="3187700"/>
            <a:ext cx="2120900" cy="2827338"/>
            <a:chOff x="823093" y="-1413626"/>
            <a:chExt cx="2827252" cy="2827252"/>
          </a:xfrm>
        </p:grpSpPr>
        <p:sp>
          <p:nvSpPr>
            <p:cNvPr id="16" name="Rectangle 19"/>
            <p:cNvSpPr/>
            <p:nvPr/>
          </p:nvSpPr>
          <p:spPr bwMode="auto">
            <a:xfrm>
              <a:off x="823093" y="-1413626"/>
              <a:ext cx="2827252" cy="2827252"/>
            </a:xfrm>
            <a:prstGeom prst="rect">
              <a:avLst/>
            </a:prstGeom>
            <a:solidFill>
              <a:schemeClr val="accent4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36" tIns="45718" rIns="91436" bIns="45718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endParaRPr lang="en-US" altLang="zh-CN" sz="170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endParaRPr>
            </a:p>
          </p:txBody>
        </p:sp>
        <p:sp>
          <p:nvSpPr>
            <p:cNvPr id="17" name="Freeform 20"/>
            <p:cNvSpPr>
              <a:spLocks noEditPoints="1"/>
            </p:cNvSpPr>
            <p:nvPr/>
          </p:nvSpPr>
          <p:spPr bwMode="auto">
            <a:xfrm>
              <a:off x="1397725" y="-232569"/>
              <a:ext cx="1677988" cy="465138"/>
            </a:xfrm>
            <a:custGeom>
              <a:avLst/>
              <a:gdLst>
                <a:gd name="T0" fmla="*/ 0 w 209"/>
                <a:gd name="T1" fmla="*/ 2147483646 h 58"/>
                <a:gd name="T2" fmla="*/ 2147483646 w 209"/>
                <a:gd name="T3" fmla="*/ 2147483646 h 58"/>
                <a:gd name="T4" fmla="*/ 2147483646 w 209"/>
                <a:gd name="T5" fmla="*/ 2147483646 h 58"/>
                <a:gd name="T6" fmla="*/ 0 w 209"/>
                <a:gd name="T7" fmla="*/ 2147483646 h 58"/>
                <a:gd name="T8" fmla="*/ 0 w 209"/>
                <a:gd name="T9" fmla="*/ 2147483646 h 58"/>
                <a:gd name="T10" fmla="*/ 2147483646 w 209"/>
                <a:gd name="T11" fmla="*/ 2147483646 h 58"/>
                <a:gd name="T12" fmla="*/ 2147483646 w 209"/>
                <a:gd name="T13" fmla="*/ 2147483646 h 58"/>
                <a:gd name="T14" fmla="*/ 2147483646 w 209"/>
                <a:gd name="T15" fmla="*/ 2147483646 h 58"/>
                <a:gd name="T16" fmla="*/ 2147483646 w 209"/>
                <a:gd name="T17" fmla="*/ 2147483646 h 58"/>
                <a:gd name="T18" fmla="*/ 2147483646 w 209"/>
                <a:gd name="T19" fmla="*/ 2147483646 h 58"/>
                <a:gd name="T20" fmla="*/ 2147483646 w 209"/>
                <a:gd name="T21" fmla="*/ 2147483646 h 58"/>
                <a:gd name="T22" fmla="*/ 2147483646 w 209"/>
                <a:gd name="T23" fmla="*/ 2147483646 h 58"/>
                <a:gd name="T24" fmla="*/ 2147483646 w 209"/>
                <a:gd name="T25" fmla="*/ 2147483646 h 58"/>
                <a:gd name="T26" fmla="*/ 2147483646 w 209"/>
                <a:gd name="T27" fmla="*/ 2147483646 h 58"/>
                <a:gd name="T28" fmla="*/ 2147483646 w 209"/>
                <a:gd name="T29" fmla="*/ 2147483646 h 58"/>
                <a:gd name="T30" fmla="*/ 2147483646 w 209"/>
                <a:gd name="T31" fmla="*/ 2147483646 h 58"/>
                <a:gd name="T32" fmla="*/ 2147483646 w 209"/>
                <a:gd name="T33" fmla="*/ 2147483646 h 58"/>
                <a:gd name="T34" fmla="*/ 2147483646 w 209"/>
                <a:gd name="T35" fmla="*/ 2147483646 h 58"/>
                <a:gd name="T36" fmla="*/ 2147483646 w 209"/>
                <a:gd name="T37" fmla="*/ 2147483646 h 58"/>
                <a:gd name="T38" fmla="*/ 2147483646 w 209"/>
                <a:gd name="T39" fmla="*/ 2147483646 h 58"/>
                <a:gd name="T40" fmla="*/ 2147483646 w 209"/>
                <a:gd name="T41" fmla="*/ 2147483646 h 58"/>
                <a:gd name="T42" fmla="*/ 2147483646 w 209"/>
                <a:gd name="T43" fmla="*/ 0 h 58"/>
                <a:gd name="T44" fmla="*/ 2147483646 w 209"/>
                <a:gd name="T45" fmla="*/ 2147483646 h 58"/>
                <a:gd name="T46" fmla="*/ 2147483646 w 209"/>
                <a:gd name="T47" fmla="*/ 2147483646 h 58"/>
                <a:gd name="T48" fmla="*/ 2147483646 w 209"/>
                <a:gd name="T49" fmla="*/ 2147483646 h 58"/>
                <a:gd name="T50" fmla="*/ 2147483646 w 209"/>
                <a:gd name="T51" fmla="*/ 2147483646 h 58"/>
                <a:gd name="T52" fmla="*/ 2147483646 w 209"/>
                <a:gd name="T53" fmla="*/ 2147483646 h 58"/>
                <a:gd name="T54" fmla="*/ 2147483646 w 209"/>
                <a:gd name="T55" fmla="*/ 2147483646 h 58"/>
                <a:gd name="T56" fmla="*/ 2147483646 w 209"/>
                <a:gd name="T57" fmla="*/ 2147483646 h 58"/>
                <a:gd name="T58" fmla="*/ 2147483646 w 209"/>
                <a:gd name="T59" fmla="*/ 2147483646 h 58"/>
                <a:gd name="T60" fmla="*/ 2147483646 w 209"/>
                <a:gd name="T61" fmla="*/ 2147483646 h 5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209" h="58">
                  <a:moveTo>
                    <a:pt x="0" y="25"/>
                  </a:moveTo>
                  <a:cubicBezTo>
                    <a:pt x="20" y="25"/>
                    <a:pt x="20" y="25"/>
                    <a:pt x="20" y="2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0" y="33"/>
                    <a:pt x="0" y="33"/>
                    <a:pt x="0" y="33"/>
                  </a:cubicBezTo>
                  <a:lnTo>
                    <a:pt x="0" y="25"/>
                  </a:lnTo>
                  <a:close/>
                  <a:moveTo>
                    <a:pt x="40" y="33"/>
                  </a:moveTo>
                  <a:cubicBezTo>
                    <a:pt x="60" y="33"/>
                    <a:pt x="60" y="33"/>
                    <a:pt x="60" y="33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40" y="25"/>
                    <a:pt x="40" y="25"/>
                    <a:pt x="40" y="25"/>
                  </a:cubicBezTo>
                  <a:lnTo>
                    <a:pt x="40" y="33"/>
                  </a:lnTo>
                  <a:close/>
                  <a:moveTo>
                    <a:pt x="120" y="33"/>
                  </a:moveTo>
                  <a:cubicBezTo>
                    <a:pt x="140" y="33"/>
                    <a:pt x="140" y="33"/>
                    <a:pt x="140" y="33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20" y="25"/>
                    <a:pt x="120" y="25"/>
                    <a:pt x="120" y="25"/>
                  </a:cubicBezTo>
                  <a:lnTo>
                    <a:pt x="120" y="33"/>
                  </a:lnTo>
                  <a:close/>
                  <a:moveTo>
                    <a:pt x="8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80" y="25"/>
                    <a:pt x="80" y="25"/>
                    <a:pt x="80" y="25"/>
                  </a:cubicBezTo>
                  <a:lnTo>
                    <a:pt x="80" y="33"/>
                  </a:lnTo>
                  <a:close/>
                  <a:moveTo>
                    <a:pt x="207" y="26"/>
                  </a:moveTo>
                  <a:cubicBezTo>
                    <a:pt x="181" y="0"/>
                    <a:pt x="181" y="0"/>
                    <a:pt x="181" y="0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95" y="25"/>
                    <a:pt x="195" y="25"/>
                    <a:pt x="195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33"/>
                    <a:pt x="160" y="33"/>
                    <a:pt x="160" y="33"/>
                  </a:cubicBezTo>
                  <a:cubicBezTo>
                    <a:pt x="195" y="33"/>
                    <a:pt x="195" y="33"/>
                    <a:pt x="195" y="33"/>
                  </a:cubicBezTo>
                  <a:cubicBezTo>
                    <a:pt x="175" y="52"/>
                    <a:pt x="175" y="52"/>
                    <a:pt x="175" y="52"/>
                  </a:cubicBezTo>
                  <a:cubicBezTo>
                    <a:pt x="181" y="58"/>
                    <a:pt x="181" y="58"/>
                    <a:pt x="181" y="58"/>
                  </a:cubicBezTo>
                  <a:cubicBezTo>
                    <a:pt x="207" y="32"/>
                    <a:pt x="207" y="32"/>
                    <a:pt x="207" y="32"/>
                  </a:cubicBezTo>
                  <a:cubicBezTo>
                    <a:pt x="209" y="30"/>
                    <a:pt x="209" y="28"/>
                    <a:pt x="207" y="2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135110" y="1586597"/>
            <a:ext cx="4163391" cy="1378644"/>
          </a:xfrm>
        </p:spPr>
        <p:txBody>
          <a:bodyPr anchor="ctr" anchorCtr="0">
            <a:noAutofit/>
            <a:scene3d>
              <a:camera prst="orthographicFront"/>
              <a:lightRig rig="flat" dir="t"/>
            </a:scene3d>
            <a:sp3d>
              <a:contourClr>
                <a:schemeClr val="tx2"/>
              </a:contourClr>
            </a:sp3d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lang="en-US" sz="4100" b="1" kern="1200" cap="none" spc="-75" baseline="0" dirty="0" smtClean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135113" y="5181625"/>
            <a:ext cx="4959201" cy="461665"/>
          </a:xfrm>
        </p:spPr>
        <p:txBody>
          <a:bodyPr>
            <a:noAutofit/>
          </a:bodyPr>
          <a:lstStyle>
            <a:lvl1pPr marL="0" indent="0" algn="l" defTabSz="685454" rtl="0" eaLnBrk="1" latinLnBrk="0" hangingPunct="1">
              <a:lnSpc>
                <a:spcPct val="90000"/>
              </a:lnSpc>
              <a:spcBef>
                <a:spcPts val="0"/>
              </a:spcBef>
              <a:buSzPct val="105000"/>
              <a:buFontTx/>
              <a:buNone/>
              <a:defRPr lang="en-US" sz="1200" kern="1200" dirty="0">
                <a:solidFill>
                  <a:schemeClr val="bg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34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5112" y="3187152"/>
            <a:ext cx="4959201" cy="1523495"/>
          </a:xfrm>
        </p:spPr>
        <p:txBody>
          <a:bodyPr anchor="ctr" anchorCtr="0">
            <a:noAutofit/>
          </a:bodyPr>
          <a:lstStyle>
            <a:lvl1pPr algn="l" defTabSz="6854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000" b="1" kern="1200" cap="none" spc="-75" baseline="0" dirty="0">
                <a:ln w="3175">
                  <a:noFill/>
                </a:ln>
                <a:solidFill>
                  <a:schemeClr val="accent4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293403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9437" y="228615"/>
            <a:ext cx="8363939" cy="457048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9437" y="1447803"/>
            <a:ext cx="8363939" cy="150041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771383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9437" y="1447803"/>
            <a:ext cx="8363939" cy="1500411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47953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938" y="228600"/>
            <a:ext cx="8364537" cy="45720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938" y="1447800"/>
            <a:ext cx="8364537" cy="15001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5595" r:id="rId1"/>
    <p:sldLayoutId id="2147485596" r:id="rId2"/>
    <p:sldLayoutId id="2147485597" r:id="rId3"/>
    <p:sldLayoutId id="2147485598" r:id="rId4"/>
    <p:sldLayoutId id="2147485599" r:id="rId5"/>
    <p:sldLayoutId id="2147485600" r:id="rId6"/>
    <p:sldLayoutId id="2147485601" r:id="rId7"/>
    <p:sldLayoutId id="2147485578" r:id="rId8"/>
    <p:sldLayoutId id="2147485579" r:id="rId9"/>
    <p:sldLayoutId id="2147485580" r:id="rId10"/>
    <p:sldLayoutId id="2147485581" r:id="rId11"/>
    <p:sldLayoutId id="2147485582" r:id="rId12"/>
    <p:sldLayoutId id="2147485583" r:id="rId13"/>
    <p:sldLayoutId id="2147485602" r:id="rId14"/>
    <p:sldLayoutId id="2147485603" r:id="rId15"/>
    <p:sldLayoutId id="2147485604" r:id="rId16"/>
    <p:sldLayoutId id="2147485605" r:id="rId17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3300" kern="1200" spc="-75" dirty="0">
          <a:ln w="3175">
            <a:noFill/>
          </a:ln>
          <a:gradFill flip="none" rotWithShape="1"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  <a:tileRect/>
          </a:gradFill>
          <a:latin typeface="+mj-lt"/>
          <a:ea typeface="+mn-ea"/>
          <a:cs typeface="Arial" charset="0"/>
        </a:defRPr>
      </a:lvl1pPr>
      <a:lvl2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2pPr>
      <a:lvl3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3pPr>
      <a:lvl4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4pPr>
      <a:lvl5pPr algn="l" defTabSz="6842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5pPr>
      <a:lvl6pPr marL="4572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6pPr>
      <a:lvl7pPr marL="9144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7pPr>
      <a:lvl8pPr marL="13716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8pPr>
      <a:lvl9pPr marL="1828800" algn="l" defTabSz="684213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Segoe UI" panose="020B0502040204020203" pitchFamily="34" charset="0"/>
          <a:cs typeface="Arial" panose="020B0604020202020204" pitchFamily="34" charset="0"/>
        </a:defRPr>
      </a:lvl9pPr>
    </p:titleStyle>
    <p:bodyStyle>
      <a:lvl1pPr marL="344488" indent="-344488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9"/>
        </a:buBlip>
        <a:defRPr sz="24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1pPr>
      <a:lvl2pPr marL="641350" indent="-29527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9"/>
        </a:buBlip>
        <a:defRPr sz="21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942975" indent="-30162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9"/>
        </a:buBlip>
        <a:defRPr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201738" indent="-258763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9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454150" indent="-250825" algn="l" defTabSz="6842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SzPct val="90000"/>
        <a:buBlip>
          <a:blip r:embed="rId19"/>
        </a:buBlip>
        <a:defRPr sz="1500" kern="1200">
          <a:gradFill>
            <a:gsLst>
              <a:gs pos="0">
                <a:schemeClr val="tx1"/>
              </a:gs>
              <a:gs pos="86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1885001" indent="-171365" algn="l" defTabSz="6854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719" indent="-171365" algn="l" defTabSz="6854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448" indent="-171365" algn="l" defTabSz="6854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174" indent="-171365" algn="l" defTabSz="68545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22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54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78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06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626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355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084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814" algn="l" defTabSz="68545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8"/>
          <p:cNvSpPr txBox="1">
            <a:spLocks noChangeArrowheads="1"/>
          </p:cNvSpPr>
          <p:nvPr/>
        </p:nvSpPr>
        <p:spPr bwMode="auto">
          <a:xfrm>
            <a:off x="5484813" y="220186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t</a:t>
            </a: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4678363" y="220821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l</a:t>
            </a:r>
          </a:p>
        </p:txBody>
      </p:sp>
      <p:sp>
        <p:nvSpPr>
          <p:cNvPr id="20" name="Text Box 10"/>
          <p:cNvSpPr txBox="1">
            <a:spLocks noChangeArrowheads="1"/>
          </p:cNvSpPr>
          <p:nvPr/>
        </p:nvSpPr>
        <p:spPr bwMode="auto">
          <a:xfrm>
            <a:off x="4475163" y="2203450"/>
            <a:ext cx="3619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e</a:t>
            </a:r>
          </a:p>
        </p:txBody>
      </p:sp>
      <p:sp>
        <p:nvSpPr>
          <p:cNvPr id="205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 smtClean="0"/>
              <a:t>按一下以編輯母片標題樣式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53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pitchFamily="34" charset="0"/>
              </a:defRPr>
            </a:lvl1pPr>
          </a:lstStyle>
          <a:p>
            <a:pPr>
              <a:defRPr/>
            </a:pPr>
            <a:endParaRPr lang="en-US" altLang="zh-TW"/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>
              <a:defRPr/>
            </a:pPr>
            <a:fld id="{0B9CFB75-0BC2-47D7-B687-A0D6ED91E262}" type="slidenum">
              <a:rPr lang="en-US" altLang="zh-TW"/>
              <a:pPr>
                <a:defRPr/>
              </a:pPr>
              <a:t>‹#›</a:t>
            </a:fld>
            <a:endParaRPr lang="en-US" altLang="zh-TW"/>
          </a:p>
        </p:txBody>
      </p:sp>
      <p:sp>
        <p:nvSpPr>
          <p:cNvPr id="15367" name="Text Box 7"/>
          <p:cNvSpPr txBox="1">
            <a:spLocks noChangeArrowheads="1"/>
          </p:cNvSpPr>
          <p:nvPr/>
        </p:nvSpPr>
        <p:spPr bwMode="auto">
          <a:xfrm>
            <a:off x="3800475" y="2211388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A</a:t>
            </a:r>
          </a:p>
        </p:txBody>
      </p:sp>
      <p:sp>
        <p:nvSpPr>
          <p:cNvPr id="15368" name="Text Box 8"/>
          <p:cNvSpPr txBox="1">
            <a:spLocks noChangeArrowheads="1"/>
          </p:cNvSpPr>
          <p:nvPr/>
        </p:nvSpPr>
        <p:spPr bwMode="auto">
          <a:xfrm>
            <a:off x="4029075" y="2211388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c</a:t>
            </a:r>
          </a:p>
        </p:txBody>
      </p:sp>
      <p:sp>
        <p:nvSpPr>
          <p:cNvPr id="15369" name="Text Box 9"/>
          <p:cNvSpPr txBox="1">
            <a:spLocks noChangeArrowheads="1"/>
          </p:cNvSpPr>
          <p:nvPr/>
        </p:nvSpPr>
        <p:spPr bwMode="auto">
          <a:xfrm>
            <a:off x="4256088" y="2211388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c</a:t>
            </a:r>
          </a:p>
        </p:txBody>
      </p:sp>
      <p:sp>
        <p:nvSpPr>
          <p:cNvPr id="15370" name="Text Box 10"/>
          <p:cNvSpPr txBox="1">
            <a:spLocks noChangeArrowheads="1"/>
          </p:cNvSpPr>
          <p:nvPr/>
        </p:nvSpPr>
        <p:spPr bwMode="auto">
          <a:xfrm>
            <a:off x="4854575" y="220186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e</a:t>
            </a:r>
          </a:p>
        </p:txBody>
      </p:sp>
      <p:sp>
        <p:nvSpPr>
          <p:cNvPr id="15371" name="Text Box 11"/>
          <p:cNvSpPr txBox="1">
            <a:spLocks noChangeArrowheads="1"/>
          </p:cNvSpPr>
          <p:nvPr/>
        </p:nvSpPr>
        <p:spPr bwMode="auto">
          <a:xfrm>
            <a:off x="5060950" y="220186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r</a:t>
            </a:r>
          </a:p>
        </p:txBody>
      </p:sp>
      <p:sp>
        <p:nvSpPr>
          <p:cNvPr id="15372" name="Text Box 12"/>
          <p:cNvSpPr txBox="1">
            <a:spLocks noChangeArrowheads="1"/>
          </p:cNvSpPr>
          <p:nvPr/>
        </p:nvSpPr>
        <p:spPr bwMode="auto">
          <a:xfrm>
            <a:off x="5281613" y="220186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a</a:t>
            </a:r>
          </a:p>
        </p:txBody>
      </p:sp>
      <p:sp>
        <p:nvSpPr>
          <p:cNvPr id="15373" name="Text Box 13"/>
          <p:cNvSpPr txBox="1">
            <a:spLocks noChangeArrowheads="1"/>
          </p:cNvSpPr>
          <p:nvPr/>
        </p:nvSpPr>
        <p:spPr bwMode="auto">
          <a:xfrm>
            <a:off x="5668963" y="2201863"/>
            <a:ext cx="36195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CN" sz="3600">
                <a:latin typeface="Impact" panose="020B0806030902050204" pitchFamily="34" charset="0"/>
                <a:ea typeface="宋体" panose="02010600030101010101" pitchFamily="2" charset="-122"/>
              </a:rPr>
              <a:t>o</a:t>
            </a:r>
          </a:p>
        </p:txBody>
      </p:sp>
      <p:sp>
        <p:nvSpPr>
          <p:cNvPr id="15374" name="Text Box 14"/>
          <p:cNvSpPr txBox="1">
            <a:spLocks noChangeArrowheads="1"/>
          </p:cNvSpPr>
          <p:nvPr/>
        </p:nvSpPr>
        <p:spPr bwMode="auto">
          <a:xfrm>
            <a:off x="5865813" y="2201863"/>
            <a:ext cx="361950" cy="646112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algn="ctr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zh-CN" sz="3600" smtClean="0">
                <a:latin typeface="Impact" panose="020B0806030902050204" pitchFamily="34" charset="0"/>
                <a:ea typeface="宋体" panose="02010600030101010101" pitchFamily="2" charset="-122"/>
              </a:rPr>
              <a:t>r </a:t>
            </a:r>
          </a:p>
        </p:txBody>
      </p:sp>
      <p:sp>
        <p:nvSpPr>
          <p:cNvPr id="15375" name="Text Box 15"/>
          <p:cNvSpPr txBox="1">
            <a:spLocks noChangeArrowheads="1"/>
          </p:cNvSpPr>
          <p:nvPr/>
        </p:nvSpPr>
        <p:spPr bwMode="auto">
          <a:xfrm>
            <a:off x="4298950" y="2774950"/>
            <a:ext cx="1338263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1" hangingPunct="1">
              <a:defRPr/>
            </a:pPr>
            <a:r>
              <a:rPr lang="zh-CN" altLang="en-US" sz="1200" b="1" spc="600" dirty="0">
                <a:latin typeface="黑体" pitchFamily="49" charset="-122"/>
                <a:ea typeface="黑体" pitchFamily="49" charset="-122"/>
              </a:rPr>
              <a:t>加速器中心</a:t>
            </a:r>
          </a:p>
        </p:txBody>
      </p:sp>
      <p:pic>
        <p:nvPicPr>
          <p:cNvPr id="15376" name="Picture 16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71800" y="2320235"/>
            <a:ext cx="896938" cy="639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7" name="Picture 17" descr="logo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1772816"/>
            <a:ext cx="4581525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584" r:id="rId1"/>
    <p:sldLayoutId id="2147485585" r:id="rId2"/>
    <p:sldLayoutId id="2147485586" r:id="rId3"/>
    <p:sldLayoutId id="2147485587" r:id="rId4"/>
    <p:sldLayoutId id="2147485588" r:id="rId5"/>
    <p:sldLayoutId id="2147485589" r:id="rId6"/>
    <p:sldLayoutId id="2147485590" r:id="rId7"/>
    <p:sldLayoutId id="2147485591" r:id="rId8"/>
    <p:sldLayoutId id="2147485592" r:id="rId9"/>
    <p:sldLayoutId id="2147485593" r:id="rId10"/>
    <p:sldLayoutId id="2147485594" r:id="rId11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6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6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6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6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6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6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6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6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69" presetID="26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8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8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8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8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85" presetID="26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9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9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9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9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9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0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26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0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1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1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1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1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1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17" presetID="26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9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0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3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4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25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26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7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28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29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30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31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32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33" presetID="26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5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6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7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8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9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41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2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3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44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5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46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47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48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7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49" presetID="26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1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4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6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57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58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9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0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1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62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63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64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65" presetID="26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7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7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7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7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18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181" presetID="23" presetClass="entr" presetSubtype="36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16667"/>
                                  </p:iterate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3" dur="100" fill="hold"/>
                                        <p:tgtEl>
                                          <p:spTgt spid="153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4" dur="100" fill="hold"/>
                                        <p:tgtEl>
                                          <p:spTgt spid="153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5" dur="100" fill="hold"/>
                                        <p:tgtEl>
                                          <p:spTgt spid="153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6" dur="100" fill="hold"/>
                                        <p:tgtEl>
                                          <p:spTgt spid="153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7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1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0" dur="500"/>
                                        <p:tgtEl>
                                          <p:spTgt spid="15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1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243 -4.07407E-6 L -4.72222E-6 -4.07407E-6 " pathEditMode="relative" rAng="0" ptsTypes="AA">
                                      <p:cBhvr>
                                        <p:cTn id="192" dur="500" fill="hold"/>
                                        <p:tgtEl>
                                          <p:spTgt spid="1537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3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194" presetID="23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500" fill="hold"/>
                                        <p:tgtEl>
                                          <p:spTgt spid="153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500" fill="hold"/>
                                        <p:tgtEl>
                                          <p:spTgt spid="153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9" dur="2000"/>
                                        <p:tgtEl>
                                          <p:spTgt spid="153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19" grpId="0"/>
      <p:bldP spid="20" grpId="0"/>
      <p:bldP spid="15367" grpId="0"/>
      <p:bldP spid="15368" grpId="0"/>
      <p:bldP spid="15369" grpId="0"/>
      <p:bldP spid="15370" grpId="0"/>
      <p:bldP spid="15371" grpId="0"/>
      <p:bldP spid="15372" grpId="0"/>
      <p:bldP spid="15373" grpId="0"/>
      <p:bldP spid="15374" grpId="0"/>
      <p:bldP spid="15375" grpId="0"/>
    </p:bld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PMingLiU" pitchFamily="18" charset="-12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PMingLiU" pitchFamily="18" charset="-12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PMingLiU" pitchFamily="18" charset="-12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PMingLiU" pitchFamily="18" charset="-12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PMingLiU" pitchFamily="18" charset="-12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新細明體" pitchFamily="18" charset="-12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PMingLiU" pitchFamily="18" charset="-12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PMingLiU" pitchFamily="18" charset="-12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PMingLiU" pitchFamily="18" charset="-12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PMingLiU" pitchFamily="18" charset="-12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PMingLiU" pitchFamily="18" charset="-12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1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5.jpe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Text Box 4"/>
          <p:cNvSpPr txBox="1">
            <a:spLocks noChangeArrowheads="1"/>
          </p:cNvSpPr>
          <p:nvPr/>
        </p:nvSpPr>
        <p:spPr bwMode="auto">
          <a:xfrm>
            <a:off x="0" y="3429000"/>
            <a:ext cx="91440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zh-CN" altLang="en-US" sz="1400" dirty="0">
                <a:latin typeface="Arial" charset="0"/>
                <a:ea typeface="微软雅黑" pitchFamily="34" charset="-122"/>
              </a:rPr>
              <a:t>汇报人：</a:t>
            </a:r>
            <a:r>
              <a:rPr lang="zh-CN" altLang="en-US" sz="1600" spc="300" dirty="0">
                <a:latin typeface="Arial" charset="0"/>
                <a:ea typeface="微软雅黑" pitchFamily="34" charset="-122"/>
              </a:rPr>
              <a:t>王湘鉴</a:t>
            </a: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1907217" y="3860802"/>
            <a:ext cx="5545906" cy="1203326"/>
            <a:chOff x="1499" y="2796"/>
            <a:chExt cx="3065" cy="758"/>
          </a:xfrm>
        </p:grpSpPr>
        <p:sp>
          <p:nvSpPr>
            <p:cNvPr id="16388" name="Text Box 6"/>
            <p:cNvSpPr txBox="1">
              <a:spLocks noChangeArrowheads="1"/>
            </p:cNvSpPr>
            <p:nvPr/>
          </p:nvSpPr>
          <p:spPr bwMode="auto">
            <a:xfrm>
              <a:off x="1499" y="2844"/>
              <a:ext cx="2990" cy="7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120000"/>
                </a:lnSpc>
              </a:pPr>
              <a:r>
                <a:rPr lang="zh-CN" altLang="en-US" sz="2400" dirty="0">
                  <a:latin typeface="黑体" panose="02010609060101010101" pitchFamily="49" charset="-122"/>
                  <a:ea typeface="黑体" panose="02010609060101010101" pitchFamily="49" charset="-122"/>
                </a:rPr>
                <a:t>直线加速器微波系统运行情况</a:t>
              </a:r>
              <a:r>
                <a:rPr lang="zh-CN" altLang="en-US" sz="2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总结</a:t>
              </a:r>
              <a:endParaRPr lang="en-US" altLang="zh-CN" sz="2400" dirty="0" smtClean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pPr algn="ctr" eaLnBrk="1" hangingPunct="1">
                <a:lnSpc>
                  <a:spcPct val="120000"/>
                </a:lnSpc>
              </a:pPr>
              <a:r>
                <a:rPr lang="zh-CN" altLang="en-US" sz="16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北京</a:t>
              </a:r>
              <a:r>
                <a:rPr lang="en-US" altLang="zh-CN" sz="16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·</a:t>
              </a:r>
              <a:r>
                <a:rPr lang="zh-CN" altLang="en-US" sz="16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红螺园</a:t>
              </a:r>
              <a:endParaRPr lang="en-US" altLang="zh-CN" sz="16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  <a:p>
              <a:pPr algn="ctr" eaLnBrk="1" hangingPunct="1">
                <a:lnSpc>
                  <a:spcPct val="120000"/>
                </a:lnSpc>
              </a:pPr>
              <a:r>
                <a:rPr lang="en-US" altLang="zh-CN" sz="16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2013.08.03</a:t>
              </a:r>
              <a:endParaRPr lang="zh-CN" altLang="en-US" sz="16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  <p:sp>
          <p:nvSpPr>
            <p:cNvPr id="16389" name="Line 7"/>
            <p:cNvSpPr>
              <a:spLocks noChangeShapeType="1"/>
            </p:cNvSpPr>
            <p:nvPr/>
          </p:nvSpPr>
          <p:spPr bwMode="auto">
            <a:xfrm>
              <a:off x="1616" y="2796"/>
              <a:ext cx="2948" cy="0"/>
            </a:xfrm>
            <a:prstGeom prst="line">
              <a:avLst/>
            </a:prstGeom>
            <a:noFill/>
            <a:ln w="9525">
              <a:solidFill>
                <a:srgbClr val="C0C0C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</p:spTree>
    <p:custDataLst>
      <p:tags r:id="rId1"/>
    </p:custDataLst>
  </p:cSld>
  <p:clrMapOvr>
    <a:masterClrMapping/>
  </p:clrMapOvr>
  <p:transition advTm="7207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36" fill="hold" grpId="0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116667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" fill="hold"/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" fill="hold"/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(6*min(max(#ppt_w*#ppt_h,.3),1)-7.4)/-.7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" fill="hold"/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fill="hold"/>
                                        <p:tgtEl>
                                          <p:spTgt spid="143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(6*min(max(#ppt_w*#ppt_h,.3),1)-7.4)/-.7*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23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1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0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/>
          <p:nvPr/>
        </p:nvGrpSpPr>
        <p:grpSpPr>
          <a:xfrm>
            <a:off x="3894015" y="4029751"/>
            <a:ext cx="4782440" cy="551204"/>
            <a:chOff x="4492890" y="3030884"/>
            <a:chExt cx="7567631" cy="734939"/>
          </a:xfrm>
          <a:solidFill>
            <a:schemeClr val="tx2">
              <a:lumMod val="50000"/>
            </a:schemeClr>
          </a:solidFill>
        </p:grpSpPr>
        <p:sp>
          <p:nvSpPr>
            <p:cNvPr id="100" name="Rectangle 99"/>
            <p:cNvSpPr/>
            <p:nvPr/>
          </p:nvSpPr>
          <p:spPr bwMode="auto">
            <a:xfrm flipH="1" flipV="1">
              <a:off x="4495072" y="3067058"/>
              <a:ext cx="7565449" cy="698765"/>
            </a:xfrm>
            <a:prstGeom prst="rect">
              <a:avLst/>
            </a:prstGeom>
            <a:solidFill>
              <a:srgbClr val="3397D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3587"/>
              <a:endParaRPr lang="en-US" sz="1100" b="1" kern="0" dirty="0">
                <a:solidFill>
                  <a:srgbClr val="FFFFFF"/>
                </a:solidFill>
                <a:latin typeface="Segoe" pitchFamily="34" charset="0"/>
              </a:endParaRPr>
            </a:p>
          </p:txBody>
        </p:sp>
        <p:sp>
          <p:nvSpPr>
            <p:cNvPr id="32796" name="TextBox 135"/>
            <p:cNvSpPr txBox="1">
              <a:spLocks noChangeArrowheads="1"/>
            </p:cNvSpPr>
            <p:nvPr/>
          </p:nvSpPr>
          <p:spPr bwMode="auto">
            <a:xfrm>
              <a:off x="4492890" y="3030884"/>
              <a:ext cx="6258195" cy="7044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ts val="1700"/>
                </a:lnSpc>
              </a:pPr>
              <a:r>
                <a:rPr lang="en-US" altLang="zh-CN" sz="1600" dirty="0">
                  <a:solidFill>
                    <a:srgbClr val="FFFFFF"/>
                  </a:solidFill>
                  <a:latin typeface="+mn-lt"/>
                </a:rPr>
                <a:t>10#</a:t>
              </a:r>
              <a:r>
                <a:rPr lang="zh-CN" altLang="zh-CN" sz="1600" dirty="0">
                  <a:solidFill>
                    <a:srgbClr val="FFFFFF"/>
                  </a:solidFill>
                  <a:latin typeface="+mn-lt"/>
                </a:rPr>
                <a:t>相控无法</a:t>
              </a:r>
              <a:r>
                <a:rPr lang="zh-CN" altLang="zh-CN" sz="1600" dirty="0" smtClean="0">
                  <a:solidFill>
                    <a:srgbClr val="FFFFFF"/>
                  </a:solidFill>
                  <a:latin typeface="+mn-lt"/>
                </a:rPr>
                <a:t>调节</a:t>
              </a:r>
              <a:endParaRPr lang="en-US" altLang="zh-CN" sz="1600" dirty="0" smtClean="0">
                <a:solidFill>
                  <a:srgbClr val="FFFFFF"/>
                </a:solidFill>
                <a:latin typeface="+mn-lt"/>
              </a:endParaRPr>
            </a:p>
            <a:p>
              <a:pPr eaLnBrk="1" hangingPunct="1">
                <a:lnSpc>
                  <a:spcPts val="1700"/>
                </a:lnSpc>
              </a:pPr>
              <a:r>
                <a:rPr lang="zh-CN" altLang="en-US" sz="105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                </a:t>
              </a:r>
              <a:r>
                <a:rPr lang="zh-CN" altLang="en-US" sz="1050" dirty="0">
                  <a:solidFill>
                    <a:srgbClr val="FFFFFF"/>
                  </a:solidFill>
                  <a:latin typeface="+mn-lt"/>
                </a:rPr>
                <a:t>机柜存在电位差→</a:t>
              </a:r>
              <a:r>
                <a:rPr lang="en-US" altLang="ko-KR" sz="1050" dirty="0">
                  <a:solidFill>
                    <a:srgbClr val="FFFFFF"/>
                  </a:solidFill>
                  <a:latin typeface="+mn-lt"/>
                </a:rPr>
                <a:t>KPCI</a:t>
              </a:r>
              <a:r>
                <a:rPr lang="zh-CN" altLang="en-US" sz="1050" dirty="0">
                  <a:solidFill>
                    <a:srgbClr val="FFFFFF"/>
                  </a:solidFill>
                  <a:latin typeface="+mn-lt"/>
                </a:rPr>
                <a:t>卡损坏、限位开关打碎</a:t>
              </a:r>
              <a:endParaRPr lang="ko-KR" altLang="en-US" sz="1050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6" name="Group 225"/>
          <p:cNvGrpSpPr/>
          <p:nvPr/>
        </p:nvGrpSpPr>
        <p:grpSpPr>
          <a:xfrm>
            <a:off x="6670198" y="2983049"/>
            <a:ext cx="2073003" cy="772006"/>
            <a:chOff x="8154691" y="1635281"/>
            <a:chExt cx="4035784" cy="1029342"/>
          </a:xfrm>
          <a:solidFill>
            <a:schemeClr val="tx2">
              <a:lumMod val="50000"/>
            </a:schemeClr>
          </a:solidFill>
        </p:grpSpPr>
        <p:sp>
          <p:nvSpPr>
            <p:cNvPr id="112" name="Rectangle 111"/>
            <p:cNvSpPr/>
            <p:nvPr/>
          </p:nvSpPr>
          <p:spPr bwMode="auto">
            <a:xfrm flipH="1" flipV="1">
              <a:off x="8277796" y="1640010"/>
              <a:ext cx="3782729" cy="711821"/>
            </a:xfrm>
            <a:prstGeom prst="rect">
              <a:avLst/>
            </a:prstGeom>
            <a:solidFill>
              <a:srgbClr val="3397D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3587"/>
              <a:endParaRPr lang="en-US" sz="1100" b="1" kern="0" dirty="0">
                <a:solidFill>
                  <a:srgbClr val="FFFFFF"/>
                </a:solidFill>
                <a:latin typeface="Segoe" pitchFamily="34" charset="0"/>
              </a:endParaRPr>
            </a:p>
          </p:txBody>
        </p:sp>
        <p:sp>
          <p:nvSpPr>
            <p:cNvPr id="113" name="TextBox 154"/>
            <p:cNvSpPr txBox="1">
              <a:spLocks noChangeArrowheads="1"/>
            </p:cNvSpPr>
            <p:nvPr/>
          </p:nvSpPr>
          <p:spPr bwMode="auto">
            <a:xfrm>
              <a:off x="8154691" y="1635281"/>
              <a:ext cx="4035784" cy="1029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ts val="1800"/>
                </a:lnSpc>
              </a:pPr>
              <a:r>
                <a:rPr lang="en-US" altLang="zh-CN" sz="1600" dirty="0" smtClean="0">
                  <a:solidFill>
                    <a:srgbClr val="FFFFFF"/>
                  </a:solidFill>
                  <a:latin typeface="+mn-lt"/>
                </a:rPr>
                <a:t> K1</a:t>
              </a:r>
              <a:r>
                <a:rPr lang="zh-CN" altLang="en-US" sz="1600" dirty="0">
                  <a:solidFill>
                    <a:srgbClr val="FFFFFF"/>
                  </a:solidFill>
                  <a:latin typeface="+mn-lt"/>
                </a:rPr>
                <a:t>相位周期性震荡</a:t>
              </a:r>
              <a:endParaRPr lang="en-US" altLang="zh-CN" sz="1600" dirty="0">
                <a:solidFill>
                  <a:srgbClr val="FFFFFF"/>
                </a:solidFill>
                <a:latin typeface="+mn-lt"/>
              </a:endParaRPr>
            </a:p>
            <a:p>
              <a:pPr eaLnBrk="1" hangingPunct="1">
                <a:lnSpc>
                  <a:spcPts val="1800"/>
                </a:lnSpc>
              </a:pPr>
              <a:r>
                <a:rPr lang="zh-CN" altLang="en-US" sz="1000" dirty="0">
                  <a:solidFill>
                    <a:srgbClr val="FFFFFF"/>
                  </a:solidFill>
                  <a:latin typeface="+mn-lt"/>
                </a:rPr>
                <a:t>套时间→时间轴变→鉴相选取错误</a:t>
              </a:r>
              <a:endParaRPr lang="en-US" altLang="zh-CN" sz="1000" dirty="0">
                <a:solidFill>
                  <a:srgbClr val="FFFFFF"/>
                </a:solidFill>
                <a:latin typeface="+mn-lt"/>
              </a:endParaRPr>
            </a:p>
            <a:p>
              <a:pPr eaLnBrk="1" hangingPunct="1">
                <a:lnSpc>
                  <a:spcPts val="1700"/>
                </a:lnSpc>
              </a:pPr>
              <a:endParaRPr lang="en-US" altLang="zh-CN" sz="900" dirty="0"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grpSp>
        <p:nvGrpSpPr>
          <p:cNvPr id="9" name="Group 12"/>
          <p:cNvGrpSpPr/>
          <p:nvPr/>
        </p:nvGrpSpPr>
        <p:grpSpPr>
          <a:xfrm>
            <a:off x="5137455" y="3520462"/>
            <a:ext cx="3539001" cy="553998"/>
            <a:chOff x="7043056" y="1926732"/>
            <a:chExt cx="5009923" cy="738664"/>
          </a:xfrm>
          <a:solidFill>
            <a:srgbClr val="3397D3"/>
          </a:solidFill>
        </p:grpSpPr>
        <p:sp>
          <p:nvSpPr>
            <p:cNvPr id="104" name="Rectangle 103"/>
            <p:cNvSpPr/>
            <p:nvPr/>
          </p:nvSpPr>
          <p:spPr bwMode="auto">
            <a:xfrm flipH="1" flipV="1">
              <a:off x="7043056" y="1926732"/>
              <a:ext cx="5009923" cy="711821"/>
            </a:xfrm>
            <a:prstGeom prst="rect">
              <a:avLst/>
            </a:pr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3587"/>
              <a:endParaRPr lang="en-US" sz="1100" b="1" kern="0" dirty="0">
                <a:solidFill>
                  <a:srgbClr val="FFFFFF"/>
                </a:solidFill>
                <a:latin typeface="Segoe" pitchFamily="34" charset="0"/>
              </a:endParaRPr>
            </a:p>
          </p:txBody>
        </p:sp>
        <p:sp>
          <p:nvSpPr>
            <p:cNvPr id="32798" name="TextBox 154"/>
            <p:cNvSpPr txBox="1">
              <a:spLocks noChangeArrowheads="1"/>
            </p:cNvSpPr>
            <p:nvPr/>
          </p:nvSpPr>
          <p:spPr bwMode="auto">
            <a:xfrm>
              <a:off x="7144023" y="1926732"/>
              <a:ext cx="4359706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ts val="1800"/>
                </a:lnSpc>
              </a:pPr>
              <a:r>
                <a:rPr lang="en-US" altLang="zh-CN" sz="1600" dirty="0">
                  <a:solidFill>
                    <a:srgbClr val="FFFFFF"/>
                  </a:solidFill>
                  <a:latin typeface="+mn-lt"/>
                </a:rPr>
                <a:t>1</a:t>
              </a:r>
              <a:r>
                <a:rPr lang="zh-CN" altLang="zh-CN" sz="1600" dirty="0">
                  <a:solidFill>
                    <a:srgbClr val="FFFFFF"/>
                  </a:solidFill>
                  <a:latin typeface="+mn-lt"/>
                </a:rPr>
                <a:t>、</a:t>
              </a:r>
              <a:r>
                <a:rPr lang="en-US" altLang="zh-CN" sz="1600" dirty="0">
                  <a:solidFill>
                    <a:srgbClr val="FFFFFF"/>
                  </a:solidFill>
                  <a:latin typeface="+mn-lt"/>
                </a:rPr>
                <a:t>2</a:t>
              </a:r>
              <a:r>
                <a:rPr lang="zh-CN" altLang="zh-CN" sz="1600" dirty="0">
                  <a:solidFill>
                    <a:srgbClr val="FFFFFF"/>
                  </a:solidFill>
                  <a:latin typeface="+mn-lt"/>
                </a:rPr>
                <a:t>、</a:t>
              </a:r>
              <a:r>
                <a:rPr lang="en-US" altLang="zh-CN" sz="1600" dirty="0">
                  <a:solidFill>
                    <a:srgbClr val="FFFFFF"/>
                  </a:solidFill>
                  <a:latin typeface="+mn-lt"/>
                </a:rPr>
                <a:t>5</a:t>
              </a:r>
              <a:r>
                <a:rPr lang="zh-CN" altLang="zh-CN" sz="1600" dirty="0">
                  <a:solidFill>
                    <a:srgbClr val="FFFFFF"/>
                  </a:solidFill>
                  <a:latin typeface="+mn-lt"/>
                </a:rPr>
                <a:t>、</a:t>
              </a:r>
              <a:r>
                <a:rPr lang="en-US" altLang="zh-CN" sz="1600" dirty="0">
                  <a:solidFill>
                    <a:srgbClr val="FFFFFF"/>
                  </a:solidFill>
                  <a:latin typeface="+mn-lt"/>
                </a:rPr>
                <a:t>6# Phasing</a:t>
              </a:r>
              <a:r>
                <a:rPr lang="zh-CN" altLang="en-US" sz="1600" dirty="0">
                  <a:solidFill>
                    <a:srgbClr val="FFFFFF"/>
                  </a:solidFill>
                  <a:latin typeface="+mn-lt"/>
                </a:rPr>
                <a:t>软件报错</a:t>
              </a:r>
              <a:endParaRPr lang="en-US" altLang="zh-CN" sz="1600" dirty="0">
                <a:solidFill>
                  <a:srgbClr val="FFFFFF"/>
                </a:solidFill>
                <a:latin typeface="+mn-lt"/>
              </a:endParaRPr>
            </a:p>
            <a:p>
              <a:pPr eaLnBrk="1" hangingPunct="1">
                <a:lnSpc>
                  <a:spcPts val="1800"/>
                </a:lnSpc>
              </a:pPr>
              <a:r>
                <a:rPr lang="zh-CN" altLang="en-US" sz="105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                                   </a:t>
              </a:r>
              <a:r>
                <a:rPr lang="zh-CN" altLang="en-US" sz="1050" dirty="0">
                  <a:solidFill>
                    <a:srgbClr val="FFFFFF"/>
                  </a:solidFill>
                  <a:latin typeface="+mn-lt"/>
                </a:rPr>
                <a:t>网络干扰</a:t>
              </a:r>
              <a:endParaRPr lang="en-US" altLang="zh-CN" sz="1050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10" name="Group 10"/>
          <p:cNvGrpSpPr/>
          <p:nvPr/>
        </p:nvGrpSpPr>
        <p:grpSpPr>
          <a:xfrm>
            <a:off x="2234546" y="4566413"/>
            <a:ext cx="6441906" cy="553998"/>
            <a:chOff x="2852057" y="3321339"/>
            <a:chExt cx="9200929" cy="738664"/>
          </a:xfrm>
          <a:solidFill>
            <a:schemeClr val="tx2">
              <a:lumMod val="50000"/>
            </a:schemeClr>
          </a:solidFill>
        </p:grpSpPr>
        <p:sp>
          <p:nvSpPr>
            <p:cNvPr id="99" name="Rectangle 98"/>
            <p:cNvSpPr/>
            <p:nvPr/>
          </p:nvSpPr>
          <p:spPr bwMode="auto">
            <a:xfrm flipH="1" flipV="1">
              <a:off x="2852057" y="3340723"/>
              <a:ext cx="9200929" cy="698765"/>
            </a:xfrm>
            <a:prstGeom prst="rect">
              <a:avLst/>
            </a:prstGeom>
            <a:solidFill>
              <a:srgbClr val="3397D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3587"/>
              <a:endParaRPr lang="en-US" sz="1100" b="1" kern="0" dirty="0">
                <a:solidFill>
                  <a:srgbClr val="FFFFFF"/>
                </a:solidFill>
                <a:latin typeface="Segoe" pitchFamily="34" charset="0"/>
              </a:endParaRPr>
            </a:p>
          </p:txBody>
        </p:sp>
        <p:sp>
          <p:nvSpPr>
            <p:cNvPr id="32792" name="TextBox 128"/>
            <p:cNvSpPr txBox="1">
              <a:spLocks noChangeArrowheads="1"/>
            </p:cNvSpPr>
            <p:nvPr/>
          </p:nvSpPr>
          <p:spPr bwMode="auto">
            <a:xfrm>
              <a:off x="3066578" y="3321339"/>
              <a:ext cx="2379309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ts val="1800"/>
                </a:lnSpc>
              </a:pPr>
              <a:r>
                <a:rPr lang="zh-CN" altLang="en-US" sz="1600" dirty="0">
                  <a:solidFill>
                    <a:srgbClr val="FFFFFF"/>
                  </a:solidFill>
                  <a:latin typeface="+mn-lt"/>
                </a:rPr>
                <a:t>总相无法调节</a:t>
              </a:r>
              <a:endParaRPr lang="en-US" altLang="zh-CN" sz="1600" dirty="0">
                <a:solidFill>
                  <a:srgbClr val="FFFFFF"/>
                </a:solidFill>
                <a:latin typeface="+mn-lt"/>
              </a:endParaRPr>
            </a:p>
            <a:p>
              <a:pPr eaLnBrk="1" hangingPunct="1">
                <a:lnSpc>
                  <a:spcPts val="1800"/>
                </a:lnSpc>
              </a:pPr>
              <a:r>
                <a:rPr lang="en-US" altLang="zh-CN" sz="1400" dirty="0">
                  <a:latin typeface="黑体" panose="02010609060101010101" pitchFamily="49" charset="-122"/>
                  <a:ea typeface="黑体" panose="02010609060101010101" pitchFamily="49" charset="-122"/>
                </a:rPr>
                <a:t> </a:t>
              </a:r>
              <a:r>
                <a:rPr lang="en-US" altLang="zh-CN" sz="1400" dirty="0" smtClean="0">
                  <a:latin typeface="黑体" panose="02010609060101010101" pitchFamily="49" charset="-122"/>
                  <a:ea typeface="黑体" panose="02010609060101010101" pitchFamily="49" charset="-122"/>
                </a:rPr>
                <a:t>        </a:t>
              </a:r>
              <a:r>
                <a:rPr lang="zh-CN" altLang="en-US" sz="1050" dirty="0">
                  <a:solidFill>
                    <a:srgbClr val="FFFFFF"/>
                  </a:solidFill>
                  <a:latin typeface="+mn-lt"/>
                </a:rPr>
                <a:t>电源线虚接</a:t>
              </a:r>
              <a:endParaRPr lang="en-US" altLang="zh-CN" sz="1050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11" name="Group 9"/>
          <p:cNvGrpSpPr/>
          <p:nvPr/>
        </p:nvGrpSpPr>
        <p:grpSpPr>
          <a:xfrm>
            <a:off x="622018" y="5084682"/>
            <a:ext cx="8054438" cy="566346"/>
            <a:chOff x="123824" y="4012361"/>
            <a:chExt cx="11929162" cy="755128"/>
          </a:xfrm>
          <a:solidFill>
            <a:schemeClr val="tx2">
              <a:lumMod val="50000"/>
            </a:schemeClr>
          </a:solidFill>
        </p:grpSpPr>
        <p:sp>
          <p:nvSpPr>
            <p:cNvPr id="95" name="Rectangle 94"/>
            <p:cNvSpPr/>
            <p:nvPr/>
          </p:nvSpPr>
          <p:spPr bwMode="auto">
            <a:xfrm flipH="1" flipV="1">
              <a:off x="123824" y="4039489"/>
              <a:ext cx="11929162" cy="698765"/>
            </a:xfrm>
            <a:prstGeom prst="rect">
              <a:avLst/>
            </a:prstGeom>
            <a:solidFill>
              <a:srgbClr val="3397D3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>
              <a:innerShdw blurRad="25400" dist="38100" dir="16200000">
                <a:prstClr val="black">
                  <a:alpha val="48000"/>
                </a:prstClr>
              </a:innerShdw>
            </a:effectLst>
          </p:spPr>
          <p:txBody>
            <a:bodyPr vert="horz" wrap="square" lIns="109833" tIns="0" rIns="109833" bIns="54916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23587"/>
              <a:endParaRPr lang="en-US" sz="1100" b="1" kern="0" dirty="0">
                <a:solidFill>
                  <a:srgbClr val="FFFFFF"/>
                </a:solidFill>
                <a:latin typeface="Segoe" pitchFamily="34" charset="0"/>
              </a:endParaRPr>
            </a:p>
          </p:txBody>
        </p:sp>
        <p:sp>
          <p:nvSpPr>
            <p:cNvPr id="32787" name="TextBox 12"/>
            <p:cNvSpPr txBox="1">
              <a:spLocks noChangeArrowheads="1"/>
            </p:cNvSpPr>
            <p:nvPr/>
          </p:nvSpPr>
          <p:spPr bwMode="auto">
            <a:xfrm>
              <a:off x="730257" y="4012361"/>
              <a:ext cx="1524683" cy="430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>
                <a:lnSpc>
                  <a:spcPts val="1800"/>
                </a:lnSpc>
              </a:pPr>
              <a:r>
                <a:rPr lang="en-US" altLang="ko-KR" sz="1600" dirty="0">
                  <a:solidFill>
                    <a:srgbClr val="FFFFFF"/>
                  </a:solidFill>
                  <a:latin typeface="+mn-lt"/>
                </a:rPr>
                <a:t>K2</a:t>
              </a:r>
              <a:r>
                <a:rPr lang="zh-CN" altLang="en-US" sz="1600" dirty="0">
                  <a:solidFill>
                    <a:srgbClr val="FFFFFF"/>
                  </a:solidFill>
                  <a:latin typeface="+mn-lt"/>
                </a:rPr>
                <a:t>相位跑</a:t>
              </a:r>
              <a:endParaRPr lang="en-US" altLang="zh-CN" sz="1600" dirty="0">
                <a:solidFill>
                  <a:srgbClr val="FFFFFF"/>
                </a:solidFill>
                <a:latin typeface="+mn-lt"/>
              </a:endParaRPr>
            </a:p>
          </p:txBody>
        </p:sp>
        <p:sp>
          <p:nvSpPr>
            <p:cNvPr id="105" name="Freeform 37"/>
            <p:cNvSpPr>
              <a:spLocks/>
            </p:cNvSpPr>
            <p:nvPr/>
          </p:nvSpPr>
          <p:spPr bwMode="auto">
            <a:xfrm>
              <a:off x="1333990" y="4289652"/>
              <a:ext cx="1931818" cy="477837"/>
            </a:xfrm>
            <a:custGeom>
              <a:avLst/>
              <a:gdLst>
                <a:gd name="T0" fmla="*/ 2147483647 w 2064"/>
                <a:gd name="T1" fmla="*/ 2147483647 h 1342"/>
                <a:gd name="T2" fmla="*/ 2147483647 w 2064"/>
                <a:gd name="T3" fmla="*/ 2147483647 h 1342"/>
                <a:gd name="T4" fmla="*/ 2147483647 w 2064"/>
                <a:gd name="T5" fmla="*/ 2147483647 h 1342"/>
                <a:gd name="T6" fmla="*/ 2147483647 w 2064"/>
                <a:gd name="T7" fmla="*/ 2147483647 h 1342"/>
                <a:gd name="T8" fmla="*/ 2147483647 w 2064"/>
                <a:gd name="T9" fmla="*/ 2147483647 h 1342"/>
                <a:gd name="T10" fmla="*/ 2147483647 w 2064"/>
                <a:gd name="T11" fmla="*/ 2147483647 h 1342"/>
                <a:gd name="T12" fmla="*/ 2147483647 w 2064"/>
                <a:gd name="T13" fmla="*/ 2147483647 h 1342"/>
                <a:gd name="T14" fmla="*/ 2147483647 w 2064"/>
                <a:gd name="T15" fmla="*/ 2147483647 h 1342"/>
                <a:gd name="T16" fmla="*/ 2147483647 w 2064"/>
                <a:gd name="T17" fmla="*/ 2147483647 h 1342"/>
                <a:gd name="T18" fmla="*/ 2147483647 w 2064"/>
                <a:gd name="T19" fmla="*/ 1665402977 h 1342"/>
                <a:gd name="T20" fmla="*/ 2147483647 w 2064"/>
                <a:gd name="T21" fmla="*/ 1350350825 h 1342"/>
                <a:gd name="T22" fmla="*/ 2147483647 w 2064"/>
                <a:gd name="T23" fmla="*/ 1035298318 h 1342"/>
                <a:gd name="T24" fmla="*/ 2147483647 w 2064"/>
                <a:gd name="T25" fmla="*/ 720119585 h 1342"/>
                <a:gd name="T26" fmla="*/ 2147483647 w 2064"/>
                <a:gd name="T27" fmla="*/ 450074629 h 1342"/>
                <a:gd name="T28" fmla="*/ 2147483647 w 2064"/>
                <a:gd name="T29" fmla="*/ 270045045 h 1342"/>
                <a:gd name="T30" fmla="*/ 2147483647 w 2064"/>
                <a:gd name="T31" fmla="*/ 135022344 h 1342"/>
                <a:gd name="T32" fmla="*/ 2147483647 w 2064"/>
                <a:gd name="T33" fmla="*/ 45007563 h 1342"/>
                <a:gd name="T34" fmla="*/ 2147483647 w 2064"/>
                <a:gd name="T35" fmla="*/ 0 h 1342"/>
                <a:gd name="T36" fmla="*/ 2147483647 w 2064"/>
                <a:gd name="T37" fmla="*/ 0 h 1342"/>
                <a:gd name="T38" fmla="*/ 2147483647 w 2064"/>
                <a:gd name="T39" fmla="*/ 45007563 h 1342"/>
                <a:gd name="T40" fmla="*/ 2147483647 w 2064"/>
                <a:gd name="T41" fmla="*/ 135022344 h 1342"/>
                <a:gd name="T42" fmla="*/ 2147483647 w 2064"/>
                <a:gd name="T43" fmla="*/ 270045045 h 1342"/>
                <a:gd name="T44" fmla="*/ 2147483647 w 2064"/>
                <a:gd name="T45" fmla="*/ 450074629 h 1342"/>
                <a:gd name="T46" fmla="*/ 2147483647 w 2064"/>
                <a:gd name="T47" fmla="*/ 720119585 h 1342"/>
                <a:gd name="T48" fmla="*/ 875387497 w 2064"/>
                <a:gd name="T49" fmla="*/ 1035298318 h 1342"/>
                <a:gd name="T50" fmla="*/ 0 w 2064"/>
                <a:gd name="T51" fmla="*/ 1350350825 h 1342"/>
                <a:gd name="T52" fmla="*/ 0 w 2064"/>
                <a:gd name="T53" fmla="*/ 1665402977 h 1342"/>
                <a:gd name="T54" fmla="*/ 0 w 2064"/>
                <a:gd name="T55" fmla="*/ 2147483647 h 1342"/>
                <a:gd name="T56" fmla="*/ 0 w 2064"/>
                <a:gd name="T57" fmla="*/ 2147483647 h 1342"/>
                <a:gd name="T58" fmla="*/ 875387497 w 2064"/>
                <a:gd name="T59" fmla="*/ 2147483647 h 1342"/>
                <a:gd name="T60" fmla="*/ 2147483647 w 2064"/>
                <a:gd name="T61" fmla="*/ 2147483647 h 1342"/>
                <a:gd name="T62" fmla="*/ 2147483647 w 2064"/>
                <a:gd name="T63" fmla="*/ 2147483647 h 1342"/>
                <a:gd name="T64" fmla="*/ 2147483647 w 2064"/>
                <a:gd name="T65" fmla="*/ 2147483647 h 1342"/>
                <a:gd name="T66" fmla="*/ 2147483647 w 2064"/>
                <a:gd name="T67" fmla="*/ 2147483647 h 1342"/>
                <a:gd name="T68" fmla="*/ 2147483647 w 2064"/>
                <a:gd name="T69" fmla="*/ 2147483647 h 1342"/>
                <a:gd name="T70" fmla="*/ 2147483647 w 2064"/>
                <a:gd name="T71" fmla="*/ 2147483647 h 1342"/>
                <a:gd name="T72" fmla="*/ 2147483647 w 2064"/>
                <a:gd name="T73" fmla="*/ 2147483647 h 13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064"/>
                <a:gd name="T112" fmla="*/ 0 h 1342"/>
                <a:gd name="T113" fmla="*/ 2064 w 2064"/>
                <a:gd name="T114" fmla="*/ 1342 h 13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064" h="1342">
                  <a:moveTo>
                    <a:pt x="2022" y="1342"/>
                  </a:moveTo>
                  <a:lnTo>
                    <a:pt x="2031" y="1342"/>
                  </a:lnTo>
                  <a:lnTo>
                    <a:pt x="2039" y="1339"/>
                  </a:lnTo>
                  <a:lnTo>
                    <a:pt x="2046" y="1336"/>
                  </a:lnTo>
                  <a:lnTo>
                    <a:pt x="2052" y="1331"/>
                  </a:lnTo>
                  <a:lnTo>
                    <a:pt x="2057" y="1325"/>
                  </a:lnTo>
                  <a:lnTo>
                    <a:pt x="2060" y="1320"/>
                  </a:lnTo>
                  <a:lnTo>
                    <a:pt x="2063" y="1313"/>
                  </a:lnTo>
                  <a:lnTo>
                    <a:pt x="2064" y="1304"/>
                  </a:lnTo>
                  <a:lnTo>
                    <a:pt x="2064" y="37"/>
                  </a:lnTo>
                  <a:lnTo>
                    <a:pt x="2063" y="30"/>
                  </a:lnTo>
                  <a:lnTo>
                    <a:pt x="2060" y="23"/>
                  </a:lnTo>
                  <a:lnTo>
                    <a:pt x="2057" y="16"/>
                  </a:lnTo>
                  <a:lnTo>
                    <a:pt x="2052" y="10"/>
                  </a:lnTo>
                  <a:lnTo>
                    <a:pt x="2046" y="6"/>
                  </a:lnTo>
                  <a:lnTo>
                    <a:pt x="2039" y="3"/>
                  </a:lnTo>
                  <a:lnTo>
                    <a:pt x="2031" y="1"/>
                  </a:lnTo>
                  <a:lnTo>
                    <a:pt x="2022" y="0"/>
                  </a:lnTo>
                  <a:lnTo>
                    <a:pt x="42" y="0"/>
                  </a:lnTo>
                  <a:lnTo>
                    <a:pt x="33" y="1"/>
                  </a:lnTo>
                  <a:lnTo>
                    <a:pt x="25" y="3"/>
                  </a:lnTo>
                  <a:lnTo>
                    <a:pt x="18" y="6"/>
                  </a:lnTo>
                  <a:lnTo>
                    <a:pt x="12" y="10"/>
                  </a:lnTo>
                  <a:lnTo>
                    <a:pt x="7" y="16"/>
                  </a:lnTo>
                  <a:lnTo>
                    <a:pt x="2" y="23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0" y="1304"/>
                  </a:lnTo>
                  <a:lnTo>
                    <a:pt x="0" y="1313"/>
                  </a:lnTo>
                  <a:lnTo>
                    <a:pt x="2" y="1320"/>
                  </a:lnTo>
                  <a:lnTo>
                    <a:pt x="7" y="1325"/>
                  </a:lnTo>
                  <a:lnTo>
                    <a:pt x="12" y="1331"/>
                  </a:lnTo>
                  <a:lnTo>
                    <a:pt x="18" y="1336"/>
                  </a:lnTo>
                  <a:lnTo>
                    <a:pt x="25" y="1339"/>
                  </a:lnTo>
                  <a:lnTo>
                    <a:pt x="33" y="1342"/>
                  </a:lnTo>
                  <a:lnTo>
                    <a:pt x="42" y="1342"/>
                  </a:lnTo>
                  <a:lnTo>
                    <a:pt x="2022" y="1342"/>
                  </a:lnTo>
                  <a:close/>
                </a:path>
              </a:pathLst>
            </a:custGeom>
            <a:noFill/>
            <a:ln w="3175">
              <a:noFill/>
              <a:round/>
              <a:headEnd/>
              <a:tailEnd/>
            </a:ln>
          </p:spPr>
          <p:txBody>
            <a:bodyPr anchor="ctr"/>
            <a:lstStyle/>
            <a:p>
              <a:pPr eaLnBrk="1" hangingPunct="1">
                <a:lnSpc>
                  <a:spcPts val="1800"/>
                </a:lnSpc>
              </a:pPr>
              <a:r>
                <a:rPr lang="zh-CN" altLang="en-US" sz="1050" dirty="0">
                  <a:solidFill>
                    <a:srgbClr val="FFFFFF"/>
                  </a:solidFill>
                  <a:latin typeface="+mn-lt"/>
                </a:rPr>
                <a:t>干扰与工控机屏蔽</a:t>
              </a:r>
              <a:endParaRPr lang="ko-KR" altLang="en-US" sz="1050" dirty="0">
                <a:solidFill>
                  <a:srgbClr val="FFFFFF"/>
                </a:solidFill>
                <a:latin typeface="+mn-lt"/>
              </a:endParaRPr>
            </a:p>
          </p:txBody>
        </p:sp>
      </p:grpSp>
      <p:cxnSp>
        <p:nvCxnSpPr>
          <p:cNvPr id="23" name="Straight Connector 22"/>
          <p:cNvCxnSpPr/>
          <p:nvPr/>
        </p:nvCxnSpPr>
        <p:spPr>
          <a:xfrm>
            <a:off x="1360404" y="5384718"/>
            <a:ext cx="0" cy="205740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>
            <a:off x="3002466" y="4943301"/>
            <a:ext cx="8868" cy="685800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 rot="-60000" flipH="1">
            <a:off x="5509930" y="3843627"/>
            <a:ext cx="41888" cy="1817562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/>
          <p:nvPr/>
        </p:nvCxnSpPr>
        <p:spPr>
          <a:xfrm>
            <a:off x="4611651" y="4368964"/>
            <a:ext cx="0" cy="1234440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Pentagon 78"/>
          <p:cNvSpPr/>
          <p:nvPr/>
        </p:nvSpPr>
        <p:spPr>
          <a:xfrm>
            <a:off x="622021" y="5640642"/>
            <a:ext cx="1612526" cy="524658"/>
          </a:xfrm>
          <a:prstGeom prst="homePlate">
            <a:avLst/>
          </a:prstGeom>
          <a:solidFill>
            <a:srgbClr val="ED7D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012.09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53" name="Chevron 252"/>
          <p:cNvSpPr/>
          <p:nvPr/>
        </p:nvSpPr>
        <p:spPr>
          <a:xfrm>
            <a:off x="2104267" y="5641240"/>
            <a:ext cx="1919787" cy="524063"/>
          </a:xfrm>
          <a:prstGeom prst="chevron">
            <a:avLst/>
          </a:prstGeom>
          <a:solidFill>
            <a:srgbClr val="ED7D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012.11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51" name="Chevron 250"/>
          <p:cNvSpPr/>
          <p:nvPr/>
        </p:nvSpPr>
        <p:spPr>
          <a:xfrm>
            <a:off x="5319574" y="5641239"/>
            <a:ext cx="1608352" cy="524065"/>
          </a:xfrm>
          <a:prstGeom prst="chevron">
            <a:avLst/>
          </a:prstGeom>
          <a:solidFill>
            <a:srgbClr val="ED7D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012.12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52" name="Chevron 251"/>
          <p:cNvSpPr/>
          <p:nvPr/>
        </p:nvSpPr>
        <p:spPr>
          <a:xfrm>
            <a:off x="3895654" y="5641240"/>
            <a:ext cx="1539411" cy="524063"/>
          </a:xfrm>
          <a:prstGeom prst="chevron">
            <a:avLst/>
          </a:prstGeom>
          <a:solidFill>
            <a:srgbClr val="ED7D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012.11</a:t>
            </a:r>
            <a:endParaRPr lang="en-US" sz="1600" dirty="0">
              <a:solidFill>
                <a:srgbClr val="FFFFFF"/>
              </a:solidFill>
            </a:endParaRPr>
          </a:p>
        </p:txBody>
      </p:sp>
      <p:cxnSp>
        <p:nvCxnSpPr>
          <p:cNvPr id="115" name="Straight Connector 114"/>
          <p:cNvCxnSpPr/>
          <p:nvPr/>
        </p:nvCxnSpPr>
        <p:spPr>
          <a:xfrm>
            <a:off x="7142519" y="3365961"/>
            <a:ext cx="1" cy="2263140"/>
          </a:xfrm>
          <a:prstGeom prst="line">
            <a:avLst/>
          </a:prstGeom>
          <a:ln w="1270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Chevron 134"/>
          <p:cNvSpPr/>
          <p:nvPr/>
        </p:nvSpPr>
        <p:spPr>
          <a:xfrm>
            <a:off x="6802115" y="5641236"/>
            <a:ext cx="1450390" cy="524067"/>
          </a:xfrm>
          <a:prstGeom prst="chevron">
            <a:avLst/>
          </a:prstGeom>
          <a:solidFill>
            <a:srgbClr val="ED7D3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6" tIns="34294" rIns="68586" bIns="34294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dirty="0" smtClean="0">
                <a:solidFill>
                  <a:srgbClr val="FFFFFF"/>
                </a:solidFill>
              </a:rPr>
              <a:t>2013.02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2" name="AutoShape 2" descr="https://mediabank.partners.extranet.microsoft.com/Assets/Active/R-T/Systems_Management_Server_2003_R2/Logos+Logotypes/SMS03-R2_rgb_r.png"/>
          <p:cNvSpPr>
            <a:spLocks noChangeAspect="1" noChangeArrowheads="1"/>
          </p:cNvSpPr>
          <p:nvPr/>
        </p:nvSpPr>
        <p:spPr bwMode="auto">
          <a:xfrm>
            <a:off x="1975875" y="2921013"/>
            <a:ext cx="22866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FFFFFF"/>
              </a:solidFill>
            </a:endParaRPr>
          </a:p>
        </p:txBody>
      </p:sp>
      <p:pic>
        <p:nvPicPr>
          <p:cNvPr id="54" name="图片 5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96" y="1438289"/>
            <a:ext cx="2808287" cy="205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图片 54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96" y="1428764"/>
            <a:ext cx="2808287" cy="2052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" name="图片 55"/>
          <p:cNvPicPr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608" y="1409714"/>
            <a:ext cx="2911475" cy="214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" name="图片 56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071" y="1428764"/>
            <a:ext cx="2865437" cy="2125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AutoShape 4"/>
          <p:cNvSpPr>
            <a:spLocks noChangeArrowheads="1"/>
          </p:cNvSpPr>
          <p:nvPr/>
        </p:nvSpPr>
        <p:spPr bwMode="auto">
          <a:xfrm>
            <a:off x="622958" y="1420826"/>
            <a:ext cx="2819400" cy="2071688"/>
          </a:xfrm>
          <a:prstGeom prst="roundRect">
            <a:avLst>
              <a:gd name="adj" fmla="val 4690"/>
            </a:avLst>
          </a:prstGeom>
          <a:noFill/>
          <a:ln w="63500">
            <a:solidFill>
              <a:srgbClr val="3397D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zh-CN" altLang="en-US"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sp>
        <p:nvSpPr>
          <p:cNvPr id="59" name="矩形 58"/>
          <p:cNvSpPr/>
          <p:nvPr/>
        </p:nvSpPr>
        <p:spPr bwMode="auto">
          <a:xfrm>
            <a:off x="622958" y="316310"/>
            <a:ext cx="3232150" cy="1079500"/>
          </a:xfrm>
          <a:prstGeom prst="rect">
            <a:avLst/>
          </a:prstGeom>
          <a:solidFill>
            <a:srgbClr val="1D4C7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zh-CN" altLang="en-US" sz="22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60" name="矩形 59"/>
          <p:cNvSpPr/>
          <p:nvPr/>
        </p:nvSpPr>
        <p:spPr bwMode="auto">
          <a:xfrm>
            <a:off x="622958" y="3527822"/>
            <a:ext cx="3232150" cy="841142"/>
          </a:xfrm>
          <a:prstGeom prst="rect">
            <a:avLst/>
          </a:prstGeom>
          <a:solidFill>
            <a:srgbClr val="1D4C7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zh-CN" altLang="en-US" sz="22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latin typeface="微软雅黑" pitchFamily="34" charset="-122"/>
                  <a:ea typeface="微软雅黑" pitchFamily="34" charset="-122"/>
                </a:rPr>
                <a:t>相控系统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597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4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2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0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6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6000"/>
                            </p:stCondLst>
                            <p:childTnLst>
                              <p:par>
                                <p:cTn id="78" presetID="1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79" dur="5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8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4" dur="5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9" grpId="0" animBg="1"/>
      <p:bldP spid="253" grpId="0" animBg="1"/>
      <p:bldP spid="251" grpId="0" animBg="1"/>
      <p:bldP spid="252" grpId="0" animBg="1"/>
      <p:bldP spid="135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0"/>
          <p:cNvSpPr>
            <a:spLocks noChangeArrowheads="1"/>
          </p:cNvSpPr>
          <p:nvPr/>
        </p:nvSpPr>
        <p:spPr bwMode="auto">
          <a:xfrm>
            <a:off x="1304925" y="3550568"/>
            <a:ext cx="2614613" cy="879475"/>
          </a:xfrm>
          <a:prstGeom prst="rect">
            <a:avLst/>
          </a:prstGeom>
          <a:solidFill>
            <a:srgbClr val="FF7547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8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超压报警</a:t>
            </a:r>
          </a:p>
        </p:txBody>
      </p:sp>
      <p:sp>
        <p:nvSpPr>
          <p:cNvPr id="4" name="Rectangle 21"/>
          <p:cNvSpPr/>
          <p:nvPr/>
        </p:nvSpPr>
        <p:spPr bwMode="auto">
          <a:xfrm>
            <a:off x="4056063" y="3550568"/>
            <a:ext cx="2765425" cy="879475"/>
          </a:xfrm>
          <a:prstGeom prst="rect">
            <a:avLst/>
          </a:prstGeom>
          <a:solidFill>
            <a:srgbClr val="FF754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buSzPct val="90000"/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冷凝器堵塞</a:t>
            </a:r>
            <a:endParaRPr lang="en-US" altLang="zh-CN" sz="1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>
              <a:spcBef>
                <a:spcPct val="20000"/>
              </a:spcBef>
              <a:buClr>
                <a:srgbClr val="C00000"/>
              </a:buClr>
              <a:buSzPct val="90000"/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环境温度变化大</a:t>
            </a:r>
            <a:endParaRPr lang="en-US" altLang="zh-CN" sz="1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>
              <a:spcBef>
                <a:spcPct val="20000"/>
              </a:spcBef>
              <a:buClr>
                <a:srgbClr val="C00000"/>
              </a:buClr>
              <a:buSzPct val="90000"/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制冷剂添加过多</a:t>
            </a:r>
          </a:p>
        </p:txBody>
      </p:sp>
      <p:sp>
        <p:nvSpPr>
          <p:cNvPr id="5" name="Rectangle 24"/>
          <p:cNvSpPr/>
          <p:nvPr/>
        </p:nvSpPr>
        <p:spPr bwMode="auto">
          <a:xfrm>
            <a:off x="1290638" y="2448843"/>
            <a:ext cx="2628900" cy="879475"/>
          </a:xfrm>
          <a:prstGeom prst="rect">
            <a:avLst/>
          </a:prstGeom>
          <a:solidFill>
            <a:srgbClr val="A8D02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压缩机跳闸</a:t>
            </a:r>
            <a:endParaRPr lang="en-US" altLang="zh-CN" sz="2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内部磨损严重</a:t>
            </a:r>
            <a:endParaRPr lang="en-US" altLang="zh-CN" sz="2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</p:txBody>
      </p:sp>
      <p:sp>
        <p:nvSpPr>
          <p:cNvPr id="6" name="Rectangle 25"/>
          <p:cNvSpPr/>
          <p:nvPr/>
        </p:nvSpPr>
        <p:spPr bwMode="auto">
          <a:xfrm>
            <a:off x="4041775" y="2448843"/>
            <a:ext cx="2779713" cy="879475"/>
          </a:xfrm>
          <a:prstGeom prst="rect">
            <a:avLst/>
          </a:prstGeom>
          <a:solidFill>
            <a:srgbClr val="A8D02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8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更换压缩机</a:t>
            </a:r>
            <a:endParaRPr lang="en-US" altLang="zh-CN" sz="28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/>
          <p:nvPr/>
        </p:nvSpPr>
        <p:spPr bwMode="auto">
          <a:xfrm>
            <a:off x="1274763" y="1345531"/>
            <a:ext cx="2644775" cy="879475"/>
          </a:xfrm>
          <a:prstGeom prst="rect">
            <a:avLst/>
          </a:prstGeom>
          <a:solidFill>
            <a:srgbClr val="5CB1F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8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控温不稳</a:t>
            </a:r>
            <a:endParaRPr lang="en-US" altLang="zh-CN" sz="28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</p:txBody>
      </p:sp>
      <p:sp>
        <p:nvSpPr>
          <p:cNvPr id="8" name="Rectangle 22"/>
          <p:cNvSpPr/>
          <p:nvPr/>
        </p:nvSpPr>
        <p:spPr bwMode="auto">
          <a:xfrm>
            <a:off x="255712" y="1346158"/>
            <a:ext cx="872268" cy="3083488"/>
          </a:xfrm>
          <a:prstGeom prst="rect">
            <a:avLst/>
          </a:prstGeom>
          <a:solidFill>
            <a:srgbClr val="FFC319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eaVert" lIns="137143" tIns="68571" rIns="68571" bIns="68571" anchor="ctr"/>
          <a:lstStyle/>
          <a:p>
            <a:pPr algn="ctr">
              <a:defRPr/>
            </a:pPr>
            <a:r>
              <a:rPr lang="zh-CN" altLang="en-US" sz="36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恒 温 箱</a:t>
            </a:r>
            <a:endParaRPr lang="en-US" altLang="zh-CN" sz="36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9" name="Rectangle 26"/>
          <p:cNvSpPr/>
          <p:nvPr/>
        </p:nvSpPr>
        <p:spPr bwMode="auto">
          <a:xfrm>
            <a:off x="4056063" y="1345531"/>
            <a:ext cx="2765425" cy="879475"/>
          </a:xfrm>
          <a:prstGeom prst="rect">
            <a:avLst/>
          </a:prstGeom>
          <a:solidFill>
            <a:srgbClr val="5CB1F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制冷剂泄露</a:t>
            </a:r>
            <a:endParaRPr lang="en-US" altLang="zh-CN" sz="2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  <a:p>
            <a:pPr>
              <a:spcBef>
                <a:spcPct val="20000"/>
              </a:spcBef>
              <a:buClr>
                <a:srgbClr val="C00000"/>
              </a:buClr>
              <a:defRPr/>
            </a:pP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  <a:sym typeface="Calibri" panose="020F0502020204030204" pitchFamily="34" charset="0"/>
              </a:rPr>
              <a:t>更换电磁阀</a:t>
            </a:r>
            <a:endParaRPr lang="en-US" altLang="zh-CN" sz="2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  <a:sym typeface="Calibri" panose="020F0502020204030204" pitchFamily="34" charset="0"/>
            </a:endParaRPr>
          </a:p>
        </p:txBody>
      </p:sp>
      <p:grpSp>
        <p:nvGrpSpPr>
          <p:cNvPr id="24585" name="组合 8"/>
          <p:cNvGrpSpPr>
            <a:grpSpLocks/>
          </p:cNvGrpSpPr>
          <p:nvPr/>
        </p:nvGrpSpPr>
        <p:grpSpPr bwMode="auto">
          <a:xfrm>
            <a:off x="325438" y="4802188"/>
            <a:ext cx="8494711" cy="1720850"/>
            <a:chOff x="405327" y="4801651"/>
            <a:chExt cx="8494445" cy="1721339"/>
          </a:xfrm>
        </p:grpSpPr>
        <p:pic>
          <p:nvPicPr>
            <p:cNvPr id="24591" name="图片 46" descr="1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350" y="4859993"/>
              <a:ext cx="2062286" cy="16050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92" name="图片 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2198" y="4850827"/>
              <a:ext cx="2101120" cy="1623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93" name="图片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11892" y="4811180"/>
              <a:ext cx="2051936" cy="16419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94" name="图片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5636" y="4838704"/>
              <a:ext cx="2206562" cy="1665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595" name="AutoShape 4"/>
            <p:cNvSpPr>
              <a:spLocks noChangeArrowheads="1"/>
            </p:cNvSpPr>
            <p:nvPr/>
          </p:nvSpPr>
          <p:spPr bwMode="auto">
            <a:xfrm>
              <a:off x="405327" y="4838704"/>
              <a:ext cx="8494445" cy="1645738"/>
            </a:xfrm>
            <a:prstGeom prst="roundRect">
              <a:avLst>
                <a:gd name="adj" fmla="val 4690"/>
              </a:avLst>
            </a:prstGeom>
            <a:noFill/>
            <a:ln w="76200">
              <a:solidFill>
                <a:srgbClr val="FFC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zh-CN" altLang="en-US">
                <a:latin typeface="Calibri" panose="020F0502020204030204" pitchFamily="34" charset="0"/>
                <a:ea typeface="宋体" panose="02010600030101010101" pitchFamily="2" charset="-122"/>
              </a:endParaRPr>
            </a:p>
          </p:txBody>
        </p:sp>
        <p:cxnSp>
          <p:nvCxnSpPr>
            <p:cNvPr id="16" name="直接连接符 15"/>
            <p:cNvCxnSpPr/>
            <p:nvPr/>
          </p:nvCxnSpPr>
          <p:spPr bwMode="auto">
            <a:xfrm>
              <a:off x="2449963" y="4801651"/>
              <a:ext cx="0" cy="1662584"/>
            </a:xfrm>
            <a:prstGeom prst="line">
              <a:avLst/>
            </a:prstGeom>
            <a:ln w="76200">
              <a:solidFill>
                <a:srgbClr val="FFC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 bwMode="auto">
            <a:xfrm>
              <a:off x="4672393" y="4860405"/>
              <a:ext cx="0" cy="1662585"/>
            </a:xfrm>
            <a:prstGeom prst="line">
              <a:avLst/>
            </a:prstGeom>
            <a:ln w="76200">
              <a:solidFill>
                <a:srgbClr val="FFC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/>
            <p:cNvCxnSpPr/>
            <p:nvPr/>
          </p:nvCxnSpPr>
          <p:spPr bwMode="auto">
            <a:xfrm>
              <a:off x="6804339" y="4815942"/>
              <a:ext cx="0" cy="1664173"/>
            </a:xfrm>
            <a:prstGeom prst="line">
              <a:avLst/>
            </a:prstGeom>
            <a:ln w="76200">
              <a:solidFill>
                <a:srgbClr val="FFC000"/>
              </a:solidFill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组合 18"/>
          <p:cNvGrpSpPr>
            <a:grpSpLocks/>
          </p:cNvGrpSpPr>
          <p:nvPr/>
        </p:nvGrpSpPr>
        <p:grpSpPr bwMode="auto">
          <a:xfrm>
            <a:off x="6962775" y="1341438"/>
            <a:ext cx="1939925" cy="3089275"/>
            <a:chOff x="6962639" y="1491669"/>
            <a:chExt cx="1939694" cy="3089459"/>
          </a:xfrm>
        </p:grpSpPr>
        <p:sp>
          <p:nvSpPr>
            <p:cNvPr id="20" name="Rectangle 22"/>
            <p:cNvSpPr/>
            <p:nvPr/>
          </p:nvSpPr>
          <p:spPr bwMode="auto">
            <a:xfrm>
              <a:off x="6975778" y="2600324"/>
              <a:ext cx="872268" cy="1980803"/>
            </a:xfrm>
            <a:prstGeom prst="rect">
              <a:avLst/>
            </a:prstGeom>
            <a:solidFill>
              <a:srgbClr val="FFC31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eaVert" lIns="137143" tIns="68571" rIns="68571" bIns="68571" anchor="ctr"/>
            <a:lstStyle/>
            <a:p>
              <a:pPr algn="ctr">
                <a:defRPr/>
              </a:pPr>
              <a:r>
                <a:rPr lang="zh-CN" altLang="en-US" sz="22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恒温箱温度引入直线控制室</a:t>
              </a:r>
              <a:endParaRPr lang="en-US" altLang="zh-CN" sz="22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21" name="Rectangle 22"/>
            <p:cNvSpPr/>
            <p:nvPr/>
          </p:nvSpPr>
          <p:spPr bwMode="auto">
            <a:xfrm>
              <a:off x="8030065" y="2600324"/>
              <a:ext cx="872268" cy="1980804"/>
            </a:xfrm>
            <a:prstGeom prst="rect">
              <a:avLst/>
            </a:prstGeom>
            <a:solidFill>
              <a:srgbClr val="FFC31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eaVert" lIns="137143" tIns="68571" rIns="68571" bIns="68571" anchor="ctr"/>
            <a:lstStyle/>
            <a:p>
              <a:pPr algn="ctr">
                <a:defRPr/>
              </a:pPr>
              <a:r>
                <a:rPr lang="en-US" altLang="zh-CN" sz="22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《</a:t>
              </a:r>
              <a:r>
                <a:rPr lang="zh-CN" altLang="en-US" sz="22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切换恒温箱</a:t>
              </a:r>
              <a:endParaRPr lang="en-US" altLang="zh-CN" sz="22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endParaRPr>
            </a:p>
            <a:p>
              <a:pPr algn="ctr">
                <a:defRPr/>
              </a:pPr>
              <a:r>
                <a:rPr lang="zh-CN" altLang="en-US" sz="22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压缩机方法</a:t>
              </a:r>
              <a:r>
                <a:rPr lang="en-US" altLang="zh-CN" sz="22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》</a:t>
              </a:r>
            </a:p>
          </p:txBody>
        </p:sp>
        <p:sp>
          <p:nvSpPr>
            <p:cNvPr id="22" name="Rectangle 22"/>
            <p:cNvSpPr/>
            <p:nvPr/>
          </p:nvSpPr>
          <p:spPr bwMode="auto">
            <a:xfrm>
              <a:off x="6962639" y="1491669"/>
              <a:ext cx="1939693" cy="884819"/>
            </a:xfrm>
            <a:prstGeom prst="rect">
              <a:avLst/>
            </a:prstGeom>
            <a:solidFill>
              <a:srgbClr val="FFC319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37143" tIns="68571" rIns="68571" bIns="68571" anchor="ctr"/>
            <a:lstStyle/>
            <a:p>
              <a:pPr algn="ctr">
                <a:defRPr/>
              </a:pPr>
              <a:r>
                <a:rPr lang="zh-CN" altLang="en-US" sz="26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致运行人员</a:t>
              </a:r>
              <a:endParaRPr lang="en-US" altLang="zh-CN" sz="26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endParaRPr>
            </a:p>
            <a:p>
              <a:pPr algn="ctr">
                <a:defRPr/>
              </a:pPr>
              <a:r>
                <a:rPr lang="en-US" altLang="zh-CN" sz="20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2</a:t>
              </a:r>
              <a:r>
                <a:rPr lang="zh-CN" altLang="en-US" sz="2000" dirty="0">
                  <a:gradFill>
                    <a:gsLst>
                      <a:gs pos="85000">
                        <a:srgbClr val="FFFFFF"/>
                      </a:gs>
                      <a:gs pos="0">
                        <a:srgbClr val="FFFFFF"/>
                      </a:gs>
                    </a:gsLst>
                    <a:lin ang="5400000" scaled="0"/>
                  </a:gradFill>
                </a:rPr>
                <a:t>件实事</a:t>
              </a:r>
              <a:endParaRPr lang="en-US" altLang="zh-CN" sz="20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25" name="组合 24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27" name="矩形 26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8" name="矩形 27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6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latin typeface="微软雅黑" pitchFamily="34" charset="-122"/>
                  <a:ea typeface="微软雅黑" pitchFamily="34" charset="-122"/>
                </a:rPr>
                <a:t>相控系统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6"/>
          <p:cNvSpPr>
            <a:spLocks/>
          </p:cNvSpPr>
          <p:nvPr/>
        </p:nvSpPr>
        <p:spPr bwMode="auto">
          <a:xfrm>
            <a:off x="0" y="1456010"/>
            <a:ext cx="4452938" cy="2563813"/>
          </a:xfrm>
          <a:prstGeom prst="rect">
            <a:avLst/>
          </a:prstGeom>
          <a:solidFill>
            <a:schemeClr val="accent4"/>
          </a:solidFill>
          <a:ln w="12700" cap="rnd">
            <a:noFill/>
            <a:prstDash val="solid"/>
            <a:head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7140" tIns="28571" rIns="57140" bIns="2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zh-CN" sz="14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0" y="4199210"/>
            <a:ext cx="4310063" cy="32419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 marL="342900" indent="-342900"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588"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tabLst>
                <a:tab pos="2322513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1" algn="r">
              <a:spcAft>
                <a:spcPts val="375"/>
              </a:spcAft>
            </a:pPr>
            <a:r>
              <a:rPr lang="zh-CN" altLang="en-US" sz="2400" b="1" dirty="0" smtClean="0">
                <a:solidFill>
                  <a:srgbClr val="3BBEB4"/>
                </a:solidFill>
              </a:rPr>
              <a:t>恒温箱现状</a:t>
            </a:r>
          </a:p>
          <a:p>
            <a:pPr marL="112713" lvl="1" indent="-112713" algn="r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已运行七年</a:t>
            </a:r>
            <a:endParaRPr lang="en-US" altLang="zh-CN" sz="1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marL="112713" lvl="1" indent="-112713" algn="r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室外机故障频发</a:t>
            </a:r>
            <a:endParaRPr lang="en-US" altLang="zh-CN" sz="1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marL="112713" lvl="1" indent="-112713" algn="r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硬件质量、维护方式、室外机环境、维修人员水平等</a:t>
            </a:r>
            <a:endParaRPr lang="en-US" altLang="zh-CN" sz="1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marL="112713" lvl="1" indent="-112713" algn="r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更换</a:t>
            </a:r>
            <a:r>
              <a:rPr lang="zh-CN" altLang="en-US" sz="1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了主要部件</a:t>
            </a:r>
            <a:endParaRPr lang="en-US" altLang="zh-CN" sz="1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 algn="r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ea typeface="宋体" panose="02010600030101010101" pitchFamily="2" charset="-12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762500" y="4199210"/>
            <a:ext cx="4310063" cy="280076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2713" indent="-1127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8" lvl="1">
              <a:spcAft>
                <a:spcPts val="375"/>
              </a:spcAft>
              <a:tabLst>
                <a:tab pos="2322513" algn="l"/>
              </a:tabLst>
            </a:pPr>
            <a:r>
              <a:rPr lang="zh-CN" altLang="en-US" sz="2400" b="1" dirty="0" smtClean="0">
                <a:solidFill>
                  <a:srgbClr val="ED5326"/>
                </a:solidFill>
              </a:rPr>
              <a:t>恒温箱未来</a:t>
            </a:r>
            <a:endParaRPr lang="zh-CN" altLang="en-US" sz="2400" b="1" dirty="0">
              <a:solidFill>
                <a:srgbClr val="ED5326"/>
              </a:solidFill>
            </a:endParaRPr>
          </a:p>
          <a:p>
            <a:pPr lvl="1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若原恒温箱依旧不稳定，考虑替换</a:t>
            </a:r>
            <a:endParaRPr lang="en-US" altLang="zh-CN" sz="1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lvl="1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现有半导体恒温箱，运行近两年，长期待考验</a:t>
            </a:r>
            <a:endParaRPr lang="en-US" altLang="zh-CN" sz="1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lvl="1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偶有缺水、探头腐蚀等小问题</a:t>
            </a:r>
            <a:endParaRPr lang="en-US" altLang="zh-CN" sz="1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lvl="1">
              <a:lnSpc>
                <a:spcPct val="150000"/>
              </a:lnSpc>
              <a:spcBef>
                <a:spcPts val="375"/>
              </a:spcBef>
              <a:buFont typeface="Arial" panose="020B0604020202020204" pitchFamily="34" charset="0"/>
              <a:buChar char="•"/>
            </a:pPr>
            <a:r>
              <a:rPr lang="en-US" altLang="zh-CN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60W</a:t>
            </a:r>
            <a:r>
              <a:rPr lang="zh-CN" altLang="en-US" sz="1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连续波固放热量较大，半导体是否可行？</a:t>
            </a:r>
            <a:endParaRPr lang="en-US" altLang="zh-CN" sz="1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lvl="1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latin typeface="黑体" panose="02010609060101010101" pitchFamily="49" charset="-122"/>
              <a:ea typeface="黑体" panose="02010609060101010101" pitchFamily="49" charset="-122"/>
            </a:endParaRPr>
          </a:p>
          <a:p>
            <a:pPr lvl="1">
              <a:spcBef>
                <a:spcPts val="375"/>
              </a:spcBef>
              <a:buFont typeface="Arial" panose="020B0604020202020204" pitchFamily="34" charset="0"/>
              <a:buChar char="•"/>
            </a:pPr>
            <a:endParaRPr lang="en-US" altLang="zh-CN" sz="1100" dirty="0">
              <a:ea typeface="宋体" panose="02010600030101010101" pitchFamily="2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572000" y="1456010"/>
            <a:ext cx="4572000" cy="2563813"/>
            <a:chOff x="4572000" y="936625"/>
            <a:chExt cx="4572000" cy="2563813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4572000" y="936625"/>
              <a:ext cx="4572000" cy="2563813"/>
            </a:xfrm>
            <a:prstGeom prst="rect">
              <a:avLst/>
            </a:prstGeom>
            <a:solidFill>
              <a:schemeClr val="accent3"/>
            </a:solidFill>
            <a:ln w="12700" cap="rnd">
              <a:noFill/>
              <a:prstDash val="solid"/>
              <a:headEnd type="oval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7140" tIns="28571" rIns="57140" bIns="28571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/>
              <a:endParaRPr lang="en-US" altLang="zh-CN" sz="140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</a:endParaRPr>
            </a:p>
          </p:txBody>
        </p:sp>
        <p:pic>
          <p:nvPicPr>
            <p:cNvPr id="30734" name="图片 21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747752" y="1125538"/>
              <a:ext cx="3046751" cy="2232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组合 6"/>
          <p:cNvGrpSpPr/>
          <p:nvPr/>
        </p:nvGrpSpPr>
        <p:grpSpPr>
          <a:xfrm>
            <a:off x="159758" y="1569785"/>
            <a:ext cx="4123317" cy="2393298"/>
            <a:chOff x="159758" y="1050400"/>
            <a:chExt cx="4123317" cy="2393298"/>
          </a:xfrm>
        </p:grpSpPr>
        <p:sp>
          <p:nvSpPr>
            <p:cNvPr id="28" name="Rectangle 24"/>
            <p:cNvSpPr/>
            <p:nvPr/>
          </p:nvSpPr>
          <p:spPr bwMode="auto">
            <a:xfrm>
              <a:off x="159758" y="1050400"/>
              <a:ext cx="1023937" cy="2393298"/>
            </a:xfrm>
            <a:prstGeom prst="rect">
              <a:avLst/>
            </a:prstGeom>
            <a:solidFill>
              <a:srgbClr val="3BBEB4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37143" tIns="68571" rIns="68571" bIns="68571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50000"/>
                </a:lnSpc>
                <a:spcBef>
                  <a:spcPct val="20000"/>
                </a:spcBef>
                <a:buClr>
                  <a:srgbClr val="C00000"/>
                </a:buClr>
                <a:defRPr/>
              </a:pPr>
              <a:endParaRPr lang="en-US" altLang="zh-CN" sz="2000" spc="-75" dirty="0">
                <a:ln>
                  <a:solidFill>
                    <a:srgbClr val="FFFFFF">
                      <a:alpha val="0"/>
                    </a:srgbClr>
                  </a:solidFill>
                </a:ln>
                <a:latin typeface="+mj-lt"/>
                <a:cs typeface="Segoe UI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733" name="AutoShape 16"/>
            <p:cNvSpPr>
              <a:spLocks noChangeArrowheads="1"/>
            </p:cNvSpPr>
            <p:nvPr/>
          </p:nvSpPr>
          <p:spPr bwMode="auto">
            <a:xfrm>
              <a:off x="1187450" y="1105488"/>
              <a:ext cx="3095625" cy="2268538"/>
            </a:xfrm>
            <a:prstGeom prst="roundRect">
              <a:avLst>
                <a:gd name="adj" fmla="val 4690"/>
              </a:avLst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zh-CN" altLang="en-US">
                <a:ea typeface="宋体" panose="02010600030101010101" pitchFamily="2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4714875" y="1552367"/>
            <a:ext cx="4138315" cy="2393298"/>
            <a:chOff x="4714875" y="1032982"/>
            <a:chExt cx="4138315" cy="2393298"/>
          </a:xfrm>
        </p:grpSpPr>
        <p:sp>
          <p:nvSpPr>
            <p:cNvPr id="29" name="Rectangle 24"/>
            <p:cNvSpPr/>
            <p:nvPr/>
          </p:nvSpPr>
          <p:spPr bwMode="auto">
            <a:xfrm>
              <a:off x="7829253" y="1032982"/>
              <a:ext cx="1023937" cy="2393298"/>
            </a:xfrm>
            <a:prstGeom prst="rect">
              <a:avLst/>
            </a:prstGeom>
            <a:solidFill>
              <a:srgbClr val="ED5326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lIns="137143" tIns="68571" rIns="68571" bIns="68571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lnSpc>
                  <a:spcPct val="150000"/>
                </a:lnSpc>
                <a:spcBef>
                  <a:spcPct val="20000"/>
                </a:spcBef>
                <a:buClr>
                  <a:srgbClr val="C00000"/>
                </a:buClr>
                <a:defRPr/>
              </a:pPr>
              <a:endParaRPr lang="en-US" altLang="zh-CN" sz="2000" spc="-75" dirty="0">
                <a:ln>
                  <a:solidFill>
                    <a:srgbClr val="FFFFFF">
                      <a:alpha val="0"/>
                    </a:srgbClr>
                  </a:solidFill>
                </a:ln>
                <a:latin typeface="+mj-lt"/>
                <a:cs typeface="Segoe UI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0739" name="AutoShape 16"/>
            <p:cNvSpPr>
              <a:spLocks noChangeArrowheads="1"/>
            </p:cNvSpPr>
            <p:nvPr/>
          </p:nvSpPr>
          <p:spPr bwMode="auto">
            <a:xfrm>
              <a:off x="4714875" y="1089025"/>
              <a:ext cx="3097213" cy="2268538"/>
            </a:xfrm>
            <a:prstGeom prst="roundRect">
              <a:avLst>
                <a:gd name="adj" fmla="val 4690"/>
              </a:avLst>
            </a:prstGeom>
            <a:noFill/>
            <a:ln w="571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endParaRPr lang="zh-CN" altLang="en-US">
                <a:ea typeface="宋体" panose="02010600030101010101" pitchFamily="2" charset="-122"/>
              </a:endParaRPr>
            </a:p>
          </p:txBody>
        </p:sp>
      </p:grpSp>
      <p:grpSp>
        <p:nvGrpSpPr>
          <p:cNvPr id="30" name="组合 29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31" name="组合 30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3" name="矩形 32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4" name="矩形 33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2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latin typeface="微软雅黑" pitchFamily="34" charset="-122"/>
                  <a:ea typeface="微软雅黑" pitchFamily="34" charset="-122"/>
                </a:rPr>
                <a:t>相控系统</a:t>
              </a: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1152656" y="1644352"/>
            <a:ext cx="3127530" cy="2307953"/>
            <a:chOff x="1152656" y="1644352"/>
            <a:chExt cx="3127530" cy="2307953"/>
          </a:xfrm>
        </p:grpSpPr>
        <p:pic>
          <p:nvPicPr>
            <p:cNvPr id="30728" name="图片 21"/>
            <p:cNvPicPr>
              <a:picLocks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1200860" y="1644352"/>
              <a:ext cx="3079326" cy="2232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直接箭头连接符 2"/>
            <p:cNvCxnSpPr/>
            <p:nvPr/>
          </p:nvCxnSpPr>
          <p:spPr>
            <a:xfrm>
              <a:off x="1429944" y="2665908"/>
              <a:ext cx="432048" cy="144016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文本框 8"/>
            <p:cNvSpPr txBox="1"/>
            <p:nvPr/>
          </p:nvSpPr>
          <p:spPr>
            <a:xfrm>
              <a:off x="1152656" y="2302655"/>
              <a:ext cx="80021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zh-CN" altLang="en-US" sz="1600" dirty="0" smtClean="0">
                  <a:solidFill>
                    <a:srgbClr val="FF0000">
                      <a:alpha val="99000"/>
                    </a:srgbClr>
                  </a:solidFill>
                </a:rPr>
                <a:t>冷凝器</a:t>
              </a:r>
            </a:p>
          </p:txBody>
        </p:sp>
        <p:cxnSp>
          <p:nvCxnSpPr>
            <p:cNvPr id="35" name="直接箭头连接符 34"/>
            <p:cNvCxnSpPr/>
            <p:nvPr/>
          </p:nvCxnSpPr>
          <p:spPr>
            <a:xfrm>
              <a:off x="2438177" y="2302655"/>
              <a:ext cx="432048" cy="144016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文本框 35"/>
            <p:cNvSpPr txBox="1"/>
            <p:nvPr/>
          </p:nvSpPr>
          <p:spPr>
            <a:xfrm>
              <a:off x="1919005" y="1919530"/>
              <a:ext cx="80021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zh-CN" altLang="en-US" sz="1600" dirty="0" smtClean="0">
                  <a:solidFill>
                    <a:srgbClr val="FF0000">
                      <a:alpha val="99000"/>
                    </a:srgbClr>
                  </a:solidFill>
                </a:rPr>
                <a:t>压缩机</a:t>
              </a:r>
            </a:p>
          </p:txBody>
        </p:sp>
        <p:cxnSp>
          <p:nvCxnSpPr>
            <p:cNvPr id="37" name="直接箭头连接符 36"/>
            <p:cNvCxnSpPr/>
            <p:nvPr/>
          </p:nvCxnSpPr>
          <p:spPr>
            <a:xfrm flipV="1">
              <a:off x="2393667" y="3031385"/>
              <a:ext cx="341595" cy="252018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文本框 37"/>
            <p:cNvSpPr txBox="1"/>
            <p:nvPr/>
          </p:nvSpPr>
          <p:spPr>
            <a:xfrm>
              <a:off x="1764245" y="3227851"/>
              <a:ext cx="800219" cy="406265"/>
            </a:xfrm>
            <a:prstGeom prst="rect">
              <a:avLst/>
            </a:prstGeom>
            <a:noFill/>
          </p:spPr>
          <p:txBody>
            <a:bodyPr wrap="none" lIns="91440" tIns="91440" rIns="91440" bIns="9144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zh-CN" altLang="en-US" sz="1600" dirty="0" smtClean="0">
                  <a:solidFill>
                    <a:srgbClr val="FF0000">
                      <a:alpha val="99000"/>
                    </a:srgbClr>
                  </a:solidFill>
                </a:rPr>
                <a:t>过滤器</a:t>
              </a:r>
            </a:p>
          </p:txBody>
        </p:sp>
        <p:cxnSp>
          <p:nvCxnSpPr>
            <p:cNvPr id="39" name="直接箭头连接符 38"/>
            <p:cNvCxnSpPr/>
            <p:nvPr/>
          </p:nvCxnSpPr>
          <p:spPr>
            <a:xfrm flipV="1">
              <a:off x="2667842" y="3367163"/>
              <a:ext cx="341595" cy="252018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文本框 39"/>
            <p:cNvSpPr txBox="1"/>
            <p:nvPr/>
          </p:nvSpPr>
          <p:spPr>
            <a:xfrm>
              <a:off x="2038420" y="3546040"/>
              <a:ext cx="1071179" cy="406265"/>
            </a:xfrm>
            <a:prstGeom prst="rect">
              <a:avLst/>
            </a:prstGeom>
            <a:noFill/>
          </p:spPr>
          <p:txBody>
            <a:bodyPr wrap="square" lIns="91440" tIns="91440" rIns="91440" bIns="91440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zh-CN" altLang="en-US" sz="1600" dirty="0" smtClean="0">
                  <a:solidFill>
                    <a:srgbClr val="FF0000">
                      <a:alpha val="99000"/>
                    </a:srgbClr>
                  </a:solidFill>
                </a:rPr>
                <a:t>电磁阀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66924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2" grpId="0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b="1" dirty="0">
                <a:solidFill>
                  <a:srgbClr val="ECC52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暑期检修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48" name="组合 47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0" name="矩形 4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1" name="矩形 50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9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64862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13" name="组合 1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5" name="矩形 1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1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aphicFrame>
        <p:nvGraphicFramePr>
          <p:cNvPr id="22" name="图示 21"/>
          <p:cNvGraphicFramePr/>
          <p:nvPr>
            <p:extLst>
              <p:ext uri="{D42A27DB-BD31-4B8C-83A1-F6EECF244321}">
                <p14:modId xmlns:p14="http://schemas.microsoft.com/office/powerpoint/2010/main" val="4133932682"/>
              </p:ext>
            </p:extLst>
          </p:nvPr>
        </p:nvGraphicFramePr>
        <p:xfrm>
          <a:off x="1259632" y="1052736"/>
          <a:ext cx="6624736" cy="2736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" name="组合 1"/>
          <p:cNvGrpSpPr/>
          <p:nvPr/>
        </p:nvGrpSpPr>
        <p:grpSpPr>
          <a:xfrm>
            <a:off x="1259632" y="3429000"/>
            <a:ext cx="6624736" cy="3450936"/>
            <a:chOff x="1259632" y="3429000"/>
            <a:chExt cx="6624736" cy="3450936"/>
          </a:xfrm>
        </p:grpSpPr>
        <p:sp>
          <p:nvSpPr>
            <p:cNvPr id="3" name="任意多边形 2"/>
            <p:cNvSpPr/>
            <p:nvPr/>
          </p:nvSpPr>
          <p:spPr>
            <a:xfrm>
              <a:off x="1259632" y="3430572"/>
              <a:ext cx="733463" cy="1047804"/>
            </a:xfrm>
            <a:custGeom>
              <a:avLst/>
              <a:gdLst>
                <a:gd name="connsiteX0" fmla="*/ 0 w 1047803"/>
                <a:gd name="connsiteY0" fmla="*/ 0 h 733462"/>
                <a:gd name="connsiteX1" fmla="*/ 681072 w 1047803"/>
                <a:gd name="connsiteY1" fmla="*/ 0 h 733462"/>
                <a:gd name="connsiteX2" fmla="*/ 1047803 w 1047803"/>
                <a:gd name="connsiteY2" fmla="*/ 366731 h 733462"/>
                <a:gd name="connsiteX3" fmla="*/ 681072 w 1047803"/>
                <a:gd name="connsiteY3" fmla="*/ 733462 h 733462"/>
                <a:gd name="connsiteX4" fmla="*/ 0 w 1047803"/>
                <a:gd name="connsiteY4" fmla="*/ 733462 h 733462"/>
                <a:gd name="connsiteX5" fmla="*/ 366731 w 1047803"/>
                <a:gd name="connsiteY5" fmla="*/ 366731 h 733462"/>
                <a:gd name="connsiteX6" fmla="*/ 0 w 1047803"/>
                <a:gd name="connsiteY6" fmla="*/ 0 h 73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803" h="733462">
                  <a:moveTo>
                    <a:pt x="1047802" y="0"/>
                  </a:moveTo>
                  <a:lnTo>
                    <a:pt x="1047802" y="476750"/>
                  </a:lnTo>
                  <a:lnTo>
                    <a:pt x="523902" y="733462"/>
                  </a:lnTo>
                  <a:lnTo>
                    <a:pt x="1" y="476750"/>
                  </a:lnTo>
                  <a:lnTo>
                    <a:pt x="1" y="0"/>
                  </a:lnTo>
                  <a:lnTo>
                    <a:pt x="523902" y="256712"/>
                  </a:lnTo>
                  <a:lnTo>
                    <a:pt x="1047802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431" tIns="378161" rIns="11430" bIns="3781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kern="1200" dirty="0" smtClean="0"/>
                <a:t>11.15</a:t>
              </a:r>
              <a:endParaRPr lang="zh-CN" altLang="en-US" sz="1800" kern="1200" dirty="0"/>
            </a:p>
          </p:txBody>
        </p:sp>
        <p:sp>
          <p:nvSpPr>
            <p:cNvPr id="4" name="任意多边形 3"/>
            <p:cNvSpPr/>
            <p:nvPr/>
          </p:nvSpPr>
          <p:spPr>
            <a:xfrm>
              <a:off x="1993094" y="3429000"/>
              <a:ext cx="5891274" cy="681073"/>
            </a:xfrm>
            <a:custGeom>
              <a:avLst/>
              <a:gdLst>
                <a:gd name="connsiteX0" fmla="*/ 113514 w 681072"/>
                <a:gd name="connsiteY0" fmla="*/ 0 h 5891273"/>
                <a:gd name="connsiteX1" fmla="*/ 567558 w 681072"/>
                <a:gd name="connsiteY1" fmla="*/ 0 h 5891273"/>
                <a:gd name="connsiteX2" fmla="*/ 681072 w 681072"/>
                <a:gd name="connsiteY2" fmla="*/ 113514 h 5891273"/>
                <a:gd name="connsiteX3" fmla="*/ 681072 w 681072"/>
                <a:gd name="connsiteY3" fmla="*/ 5891273 h 5891273"/>
                <a:gd name="connsiteX4" fmla="*/ 681072 w 681072"/>
                <a:gd name="connsiteY4" fmla="*/ 5891273 h 5891273"/>
                <a:gd name="connsiteX5" fmla="*/ 0 w 681072"/>
                <a:gd name="connsiteY5" fmla="*/ 5891273 h 5891273"/>
                <a:gd name="connsiteX6" fmla="*/ 0 w 681072"/>
                <a:gd name="connsiteY6" fmla="*/ 5891273 h 5891273"/>
                <a:gd name="connsiteX7" fmla="*/ 0 w 681072"/>
                <a:gd name="connsiteY7" fmla="*/ 113514 h 5891273"/>
                <a:gd name="connsiteX8" fmla="*/ 113514 w 681072"/>
                <a:gd name="connsiteY8" fmla="*/ 0 h 589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1072" h="5891273">
                  <a:moveTo>
                    <a:pt x="681072" y="981899"/>
                  </a:moveTo>
                  <a:lnTo>
                    <a:pt x="681072" y="4909374"/>
                  </a:lnTo>
                  <a:cubicBezTo>
                    <a:pt x="681072" y="5451659"/>
                    <a:pt x="675197" y="5891269"/>
                    <a:pt x="667949" y="5891269"/>
                  </a:cubicBezTo>
                  <a:lnTo>
                    <a:pt x="0" y="5891269"/>
                  </a:lnTo>
                  <a:lnTo>
                    <a:pt x="0" y="5891269"/>
                  </a:lnTo>
                  <a:lnTo>
                    <a:pt x="0" y="4"/>
                  </a:lnTo>
                  <a:lnTo>
                    <a:pt x="0" y="4"/>
                  </a:lnTo>
                  <a:lnTo>
                    <a:pt x="667949" y="4"/>
                  </a:lnTo>
                  <a:cubicBezTo>
                    <a:pt x="675197" y="4"/>
                    <a:pt x="681072" y="439614"/>
                    <a:pt x="681072" y="981899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2457" tIns="41502" rIns="41502" bIns="41503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zh-CN" altLang="en-US" sz="1300" kern="1200" dirty="0" smtClean="0"/>
                <a:t>布温度探头，监测打火情况，不理想</a:t>
              </a:r>
              <a:endParaRPr lang="zh-CN" altLang="en-US" sz="1300" kern="1200" dirty="0"/>
            </a:p>
          </p:txBody>
        </p:sp>
        <p:sp>
          <p:nvSpPr>
            <p:cNvPr id="5" name="任意多边形 4"/>
            <p:cNvSpPr/>
            <p:nvPr/>
          </p:nvSpPr>
          <p:spPr>
            <a:xfrm>
              <a:off x="1259632" y="5030760"/>
              <a:ext cx="733463" cy="1047804"/>
            </a:xfrm>
            <a:custGeom>
              <a:avLst/>
              <a:gdLst>
                <a:gd name="connsiteX0" fmla="*/ 0 w 1047803"/>
                <a:gd name="connsiteY0" fmla="*/ 0 h 733462"/>
                <a:gd name="connsiteX1" fmla="*/ 681072 w 1047803"/>
                <a:gd name="connsiteY1" fmla="*/ 0 h 733462"/>
                <a:gd name="connsiteX2" fmla="*/ 1047803 w 1047803"/>
                <a:gd name="connsiteY2" fmla="*/ 366731 h 733462"/>
                <a:gd name="connsiteX3" fmla="*/ 681072 w 1047803"/>
                <a:gd name="connsiteY3" fmla="*/ 733462 h 733462"/>
                <a:gd name="connsiteX4" fmla="*/ 0 w 1047803"/>
                <a:gd name="connsiteY4" fmla="*/ 733462 h 733462"/>
                <a:gd name="connsiteX5" fmla="*/ 366731 w 1047803"/>
                <a:gd name="connsiteY5" fmla="*/ 366731 h 733462"/>
                <a:gd name="connsiteX6" fmla="*/ 0 w 1047803"/>
                <a:gd name="connsiteY6" fmla="*/ 0 h 73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803" h="733462">
                  <a:moveTo>
                    <a:pt x="1047802" y="0"/>
                  </a:moveTo>
                  <a:lnTo>
                    <a:pt x="1047802" y="476750"/>
                  </a:lnTo>
                  <a:lnTo>
                    <a:pt x="523902" y="733462"/>
                  </a:lnTo>
                  <a:lnTo>
                    <a:pt x="1" y="476750"/>
                  </a:lnTo>
                  <a:lnTo>
                    <a:pt x="1" y="0"/>
                  </a:lnTo>
                  <a:lnTo>
                    <a:pt x="523902" y="256712"/>
                  </a:lnTo>
                  <a:lnTo>
                    <a:pt x="1047802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431" tIns="378161" rIns="11430" bIns="3781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kern="1200" dirty="0" smtClean="0"/>
                <a:t>12.20</a:t>
              </a:r>
              <a:endParaRPr lang="zh-CN" altLang="en-US" sz="1800" kern="1200" dirty="0"/>
            </a:p>
          </p:txBody>
        </p:sp>
        <p:sp>
          <p:nvSpPr>
            <p:cNvPr id="6" name="任意多边形 5"/>
            <p:cNvSpPr/>
            <p:nvPr/>
          </p:nvSpPr>
          <p:spPr>
            <a:xfrm>
              <a:off x="1993094" y="5030761"/>
              <a:ext cx="5891274" cy="681073"/>
            </a:xfrm>
            <a:custGeom>
              <a:avLst/>
              <a:gdLst>
                <a:gd name="connsiteX0" fmla="*/ 113514 w 681072"/>
                <a:gd name="connsiteY0" fmla="*/ 0 h 5891273"/>
                <a:gd name="connsiteX1" fmla="*/ 567558 w 681072"/>
                <a:gd name="connsiteY1" fmla="*/ 0 h 5891273"/>
                <a:gd name="connsiteX2" fmla="*/ 681072 w 681072"/>
                <a:gd name="connsiteY2" fmla="*/ 113514 h 5891273"/>
                <a:gd name="connsiteX3" fmla="*/ 681072 w 681072"/>
                <a:gd name="connsiteY3" fmla="*/ 5891273 h 5891273"/>
                <a:gd name="connsiteX4" fmla="*/ 681072 w 681072"/>
                <a:gd name="connsiteY4" fmla="*/ 5891273 h 5891273"/>
                <a:gd name="connsiteX5" fmla="*/ 0 w 681072"/>
                <a:gd name="connsiteY5" fmla="*/ 5891273 h 5891273"/>
                <a:gd name="connsiteX6" fmla="*/ 0 w 681072"/>
                <a:gd name="connsiteY6" fmla="*/ 5891273 h 5891273"/>
                <a:gd name="connsiteX7" fmla="*/ 0 w 681072"/>
                <a:gd name="connsiteY7" fmla="*/ 113514 h 5891273"/>
                <a:gd name="connsiteX8" fmla="*/ 113514 w 681072"/>
                <a:gd name="connsiteY8" fmla="*/ 0 h 589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1072" h="5891273">
                  <a:moveTo>
                    <a:pt x="681072" y="981899"/>
                  </a:moveTo>
                  <a:lnTo>
                    <a:pt x="681072" y="4909374"/>
                  </a:lnTo>
                  <a:cubicBezTo>
                    <a:pt x="681072" y="5451659"/>
                    <a:pt x="675197" y="5891269"/>
                    <a:pt x="667949" y="5891269"/>
                  </a:cubicBezTo>
                  <a:lnTo>
                    <a:pt x="0" y="5891269"/>
                  </a:lnTo>
                  <a:lnTo>
                    <a:pt x="0" y="5891269"/>
                  </a:lnTo>
                  <a:lnTo>
                    <a:pt x="0" y="4"/>
                  </a:lnTo>
                  <a:lnTo>
                    <a:pt x="0" y="4"/>
                  </a:lnTo>
                  <a:lnTo>
                    <a:pt x="667949" y="4"/>
                  </a:lnTo>
                  <a:cubicBezTo>
                    <a:pt x="675197" y="4"/>
                    <a:pt x="681072" y="439614"/>
                    <a:pt x="681072" y="981899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1121" tIns="39597" rIns="39597" bIns="39598" numCol="1" spcCol="1270" anchor="ctr" anchorCtr="0">
              <a:noAutofit/>
            </a:bodyPr>
            <a:lstStyle/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zh-CN" altLang="en-US" sz="1300" kern="1200" dirty="0" smtClean="0"/>
                <a:t>功率只有</a:t>
              </a:r>
              <a:r>
                <a:rPr lang="en-US" altLang="zh-CN" sz="1300" kern="1200" dirty="0" smtClean="0"/>
                <a:t>9MW</a:t>
              </a:r>
              <a:r>
                <a:rPr lang="zh-CN" altLang="en-US" sz="1300" kern="1200" dirty="0" smtClean="0"/>
                <a:t>，升高压则真空保护</a:t>
              </a:r>
              <a:endParaRPr lang="zh-CN" altLang="en-US" sz="1300" kern="1200" dirty="0"/>
            </a:p>
            <a:p>
              <a:pPr marL="57150" lvl="1" indent="-57150" algn="l" defTabSz="4445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zh-CN" altLang="en-US" sz="1300" kern="1200" dirty="0" smtClean="0"/>
                <a:t>搭建波形监测平台，裴国玺、侯汨等。</a:t>
              </a:r>
              <a:r>
                <a:rPr lang="en-US" sz="1300" kern="1200" dirty="0" smtClean="0"/>
                <a:t>A53</a:t>
              </a:r>
              <a:r>
                <a:rPr lang="zh-CN" sz="1300" kern="1200" dirty="0" smtClean="0"/>
                <a:t>和</a:t>
              </a:r>
              <a:r>
                <a:rPr lang="en-US" sz="1300" kern="1200" dirty="0" smtClean="0"/>
                <a:t>A54</a:t>
              </a:r>
              <a:r>
                <a:rPr lang="zh-CN" sz="1300" kern="1200" dirty="0" smtClean="0"/>
                <a:t>真空同时变差，很快超过</a:t>
              </a:r>
              <a:r>
                <a:rPr lang="en-US" sz="1300" kern="1200" dirty="0" smtClean="0"/>
                <a:t>1mA</a:t>
              </a:r>
              <a:r>
                <a:rPr lang="zh-CN" sz="1300" kern="1200" dirty="0" smtClean="0"/>
                <a:t>。</a:t>
              </a:r>
              <a:r>
                <a:rPr lang="en-US" sz="1300" kern="1200" dirty="0" smtClean="0"/>
                <a:t>A52</a:t>
              </a:r>
              <a:r>
                <a:rPr lang="zh-CN" sz="1300" kern="1200" dirty="0" smtClean="0"/>
                <a:t>也会升高，约为</a:t>
              </a:r>
              <a:r>
                <a:rPr lang="en-US" sz="1300" kern="1200" dirty="0" smtClean="0"/>
                <a:t>A53</a:t>
              </a:r>
              <a:r>
                <a:rPr lang="zh-CN" sz="1300" kern="1200" dirty="0" smtClean="0"/>
                <a:t>和</a:t>
              </a:r>
              <a:r>
                <a:rPr lang="en-US" sz="1300" kern="1200" dirty="0" smtClean="0"/>
                <a:t>A54</a:t>
              </a:r>
              <a:r>
                <a:rPr lang="zh-CN" sz="1300" kern="1200" dirty="0" smtClean="0"/>
                <a:t>的一半。</a:t>
              </a:r>
              <a:r>
                <a:rPr lang="en-US" sz="1300" kern="1200" dirty="0" smtClean="0"/>
                <a:t>A51</a:t>
              </a:r>
              <a:r>
                <a:rPr lang="zh-CN" sz="1300" kern="1200" dirty="0" smtClean="0"/>
                <a:t>变化最小。</a:t>
              </a:r>
              <a:endParaRPr lang="zh-CN" altLang="en-US" sz="1300" kern="1200" dirty="0"/>
            </a:p>
          </p:txBody>
        </p:sp>
        <p:sp>
          <p:nvSpPr>
            <p:cNvPr id="7" name="任意多边形 6"/>
            <p:cNvSpPr/>
            <p:nvPr/>
          </p:nvSpPr>
          <p:spPr>
            <a:xfrm>
              <a:off x="1259632" y="5832132"/>
              <a:ext cx="733463" cy="1047804"/>
            </a:xfrm>
            <a:custGeom>
              <a:avLst/>
              <a:gdLst>
                <a:gd name="connsiteX0" fmla="*/ 0 w 1047803"/>
                <a:gd name="connsiteY0" fmla="*/ 0 h 733462"/>
                <a:gd name="connsiteX1" fmla="*/ 681072 w 1047803"/>
                <a:gd name="connsiteY1" fmla="*/ 0 h 733462"/>
                <a:gd name="connsiteX2" fmla="*/ 1047803 w 1047803"/>
                <a:gd name="connsiteY2" fmla="*/ 366731 h 733462"/>
                <a:gd name="connsiteX3" fmla="*/ 681072 w 1047803"/>
                <a:gd name="connsiteY3" fmla="*/ 733462 h 733462"/>
                <a:gd name="connsiteX4" fmla="*/ 0 w 1047803"/>
                <a:gd name="connsiteY4" fmla="*/ 733462 h 733462"/>
                <a:gd name="connsiteX5" fmla="*/ 366731 w 1047803"/>
                <a:gd name="connsiteY5" fmla="*/ 366731 h 733462"/>
                <a:gd name="connsiteX6" fmla="*/ 0 w 1047803"/>
                <a:gd name="connsiteY6" fmla="*/ 0 h 73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47803" h="733462">
                  <a:moveTo>
                    <a:pt x="1047802" y="0"/>
                  </a:moveTo>
                  <a:lnTo>
                    <a:pt x="1047802" y="476750"/>
                  </a:lnTo>
                  <a:lnTo>
                    <a:pt x="523902" y="733462"/>
                  </a:lnTo>
                  <a:lnTo>
                    <a:pt x="1" y="476750"/>
                  </a:lnTo>
                  <a:lnTo>
                    <a:pt x="1" y="0"/>
                  </a:lnTo>
                  <a:lnTo>
                    <a:pt x="523902" y="256712"/>
                  </a:lnTo>
                  <a:lnTo>
                    <a:pt x="1047802" y="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431" tIns="378161" rIns="11430" bIns="3781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800" kern="1200" dirty="0" smtClean="0"/>
                <a:t>12.27</a:t>
              </a:r>
              <a:endParaRPr lang="zh-CN" altLang="en-US" sz="1800" kern="1200" dirty="0"/>
            </a:p>
          </p:txBody>
        </p:sp>
        <p:sp>
          <p:nvSpPr>
            <p:cNvPr id="8" name="任意多边形 7"/>
            <p:cNvSpPr/>
            <p:nvPr/>
          </p:nvSpPr>
          <p:spPr>
            <a:xfrm>
              <a:off x="1993094" y="5832132"/>
              <a:ext cx="5891274" cy="681073"/>
            </a:xfrm>
            <a:custGeom>
              <a:avLst/>
              <a:gdLst>
                <a:gd name="connsiteX0" fmla="*/ 113514 w 681072"/>
                <a:gd name="connsiteY0" fmla="*/ 0 h 5891273"/>
                <a:gd name="connsiteX1" fmla="*/ 567558 w 681072"/>
                <a:gd name="connsiteY1" fmla="*/ 0 h 5891273"/>
                <a:gd name="connsiteX2" fmla="*/ 681072 w 681072"/>
                <a:gd name="connsiteY2" fmla="*/ 113514 h 5891273"/>
                <a:gd name="connsiteX3" fmla="*/ 681072 w 681072"/>
                <a:gd name="connsiteY3" fmla="*/ 5891273 h 5891273"/>
                <a:gd name="connsiteX4" fmla="*/ 681072 w 681072"/>
                <a:gd name="connsiteY4" fmla="*/ 5891273 h 5891273"/>
                <a:gd name="connsiteX5" fmla="*/ 0 w 681072"/>
                <a:gd name="connsiteY5" fmla="*/ 5891273 h 5891273"/>
                <a:gd name="connsiteX6" fmla="*/ 0 w 681072"/>
                <a:gd name="connsiteY6" fmla="*/ 5891273 h 5891273"/>
                <a:gd name="connsiteX7" fmla="*/ 0 w 681072"/>
                <a:gd name="connsiteY7" fmla="*/ 113514 h 5891273"/>
                <a:gd name="connsiteX8" fmla="*/ 113514 w 681072"/>
                <a:gd name="connsiteY8" fmla="*/ 0 h 5891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81072" h="5891273">
                  <a:moveTo>
                    <a:pt x="681072" y="981899"/>
                  </a:moveTo>
                  <a:lnTo>
                    <a:pt x="681072" y="4909374"/>
                  </a:lnTo>
                  <a:cubicBezTo>
                    <a:pt x="681072" y="5451659"/>
                    <a:pt x="675197" y="5891269"/>
                    <a:pt x="667949" y="5891269"/>
                  </a:cubicBezTo>
                  <a:lnTo>
                    <a:pt x="0" y="5891269"/>
                  </a:lnTo>
                  <a:lnTo>
                    <a:pt x="0" y="5891269"/>
                  </a:lnTo>
                  <a:lnTo>
                    <a:pt x="0" y="4"/>
                  </a:lnTo>
                  <a:lnTo>
                    <a:pt x="0" y="4"/>
                  </a:lnTo>
                  <a:lnTo>
                    <a:pt x="667949" y="4"/>
                  </a:lnTo>
                  <a:cubicBezTo>
                    <a:pt x="675197" y="4"/>
                    <a:pt x="681072" y="439614"/>
                    <a:pt x="681072" y="981899"/>
                  </a:cubicBez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2457" tIns="41502" rIns="41502" bIns="41503" numCol="1" spcCol="1270" anchor="ctr" anchorCtr="0">
              <a:noAutofit/>
            </a:bodyPr>
            <a:lstStyle/>
            <a:p>
              <a:pPr marL="114300" lvl="1" indent="-114300" algn="l" defTabSz="577850">
                <a:lnSpc>
                  <a:spcPct val="15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zh-CN" altLang="en-US" sz="1300" kern="1200" dirty="0" smtClean="0"/>
                <a:t>召开讨论会，裴国玺、赵风利、侯汨、陈志比、周祖圣等</a:t>
              </a:r>
              <a:endParaRPr lang="zh-CN" altLang="en-US" sz="1300" kern="1200" dirty="0"/>
            </a:p>
            <a:p>
              <a:pPr marL="114300" lvl="1" indent="-114300" algn="l" defTabSz="577850">
                <a:lnSpc>
                  <a:spcPct val="15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zh-CN" altLang="en-US" sz="1300" kern="1200" dirty="0" smtClean="0"/>
                <a:t>找寻波导打火点三种方案：①听诊器；②贴剂量片；③剂量仪</a:t>
              </a:r>
              <a:endParaRPr lang="zh-CN" altLang="en-US" sz="1300" kern="1200" dirty="0"/>
            </a:p>
          </p:txBody>
        </p:sp>
      </p:grpSp>
      <p:sp>
        <p:nvSpPr>
          <p:cNvPr id="17" name="任意多边形 16"/>
          <p:cNvSpPr/>
          <p:nvPr/>
        </p:nvSpPr>
        <p:spPr>
          <a:xfrm>
            <a:off x="1259632" y="4231552"/>
            <a:ext cx="733463" cy="1047804"/>
          </a:xfrm>
          <a:custGeom>
            <a:avLst/>
            <a:gdLst>
              <a:gd name="connsiteX0" fmla="*/ 0 w 1047803"/>
              <a:gd name="connsiteY0" fmla="*/ 0 h 733462"/>
              <a:gd name="connsiteX1" fmla="*/ 681072 w 1047803"/>
              <a:gd name="connsiteY1" fmla="*/ 0 h 733462"/>
              <a:gd name="connsiteX2" fmla="*/ 1047803 w 1047803"/>
              <a:gd name="connsiteY2" fmla="*/ 366731 h 733462"/>
              <a:gd name="connsiteX3" fmla="*/ 681072 w 1047803"/>
              <a:gd name="connsiteY3" fmla="*/ 733462 h 733462"/>
              <a:gd name="connsiteX4" fmla="*/ 0 w 1047803"/>
              <a:gd name="connsiteY4" fmla="*/ 733462 h 733462"/>
              <a:gd name="connsiteX5" fmla="*/ 366731 w 1047803"/>
              <a:gd name="connsiteY5" fmla="*/ 366731 h 733462"/>
              <a:gd name="connsiteX6" fmla="*/ 0 w 1047803"/>
              <a:gd name="connsiteY6" fmla="*/ 0 h 733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47803" h="733462">
                <a:moveTo>
                  <a:pt x="1047802" y="0"/>
                </a:moveTo>
                <a:lnTo>
                  <a:pt x="1047802" y="476750"/>
                </a:lnTo>
                <a:lnTo>
                  <a:pt x="523902" y="733462"/>
                </a:lnTo>
                <a:lnTo>
                  <a:pt x="1" y="476750"/>
                </a:lnTo>
                <a:lnTo>
                  <a:pt x="1" y="0"/>
                </a:lnTo>
                <a:lnTo>
                  <a:pt x="523902" y="256712"/>
                </a:lnTo>
                <a:lnTo>
                  <a:pt x="1047802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31" tIns="378161" rIns="11430" bIns="378162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z="1800" kern="1200" dirty="0" smtClean="0"/>
              <a:t>11</a:t>
            </a:r>
            <a:r>
              <a:rPr lang="zh-CN" altLang="en-US" sz="1800" kern="1200" dirty="0" smtClean="0"/>
              <a:t>月下</a:t>
            </a:r>
            <a:endParaRPr lang="zh-CN" altLang="en-US" sz="1800" kern="1200" dirty="0"/>
          </a:p>
        </p:txBody>
      </p:sp>
      <p:sp>
        <p:nvSpPr>
          <p:cNvPr id="18" name="任意多边形 17"/>
          <p:cNvSpPr/>
          <p:nvPr/>
        </p:nvSpPr>
        <p:spPr>
          <a:xfrm>
            <a:off x="1993094" y="4231553"/>
            <a:ext cx="5891274" cy="681073"/>
          </a:xfrm>
          <a:custGeom>
            <a:avLst/>
            <a:gdLst>
              <a:gd name="connsiteX0" fmla="*/ 113514 w 681072"/>
              <a:gd name="connsiteY0" fmla="*/ 0 h 5891273"/>
              <a:gd name="connsiteX1" fmla="*/ 567558 w 681072"/>
              <a:gd name="connsiteY1" fmla="*/ 0 h 5891273"/>
              <a:gd name="connsiteX2" fmla="*/ 681072 w 681072"/>
              <a:gd name="connsiteY2" fmla="*/ 113514 h 5891273"/>
              <a:gd name="connsiteX3" fmla="*/ 681072 w 681072"/>
              <a:gd name="connsiteY3" fmla="*/ 5891273 h 5891273"/>
              <a:gd name="connsiteX4" fmla="*/ 681072 w 681072"/>
              <a:gd name="connsiteY4" fmla="*/ 5891273 h 5891273"/>
              <a:gd name="connsiteX5" fmla="*/ 0 w 681072"/>
              <a:gd name="connsiteY5" fmla="*/ 5891273 h 5891273"/>
              <a:gd name="connsiteX6" fmla="*/ 0 w 681072"/>
              <a:gd name="connsiteY6" fmla="*/ 5891273 h 5891273"/>
              <a:gd name="connsiteX7" fmla="*/ 0 w 681072"/>
              <a:gd name="connsiteY7" fmla="*/ 113514 h 5891273"/>
              <a:gd name="connsiteX8" fmla="*/ 113514 w 681072"/>
              <a:gd name="connsiteY8" fmla="*/ 0 h 5891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81072" h="5891273">
                <a:moveTo>
                  <a:pt x="681072" y="981899"/>
                </a:moveTo>
                <a:lnTo>
                  <a:pt x="681072" y="4909374"/>
                </a:lnTo>
                <a:cubicBezTo>
                  <a:pt x="681072" y="5451659"/>
                  <a:pt x="675197" y="5891269"/>
                  <a:pt x="667949" y="5891269"/>
                </a:cubicBezTo>
                <a:lnTo>
                  <a:pt x="0" y="5891269"/>
                </a:lnTo>
                <a:lnTo>
                  <a:pt x="0" y="5891269"/>
                </a:lnTo>
                <a:lnTo>
                  <a:pt x="0" y="4"/>
                </a:lnTo>
                <a:lnTo>
                  <a:pt x="0" y="4"/>
                </a:lnTo>
                <a:lnTo>
                  <a:pt x="667949" y="4"/>
                </a:lnTo>
                <a:cubicBezTo>
                  <a:pt x="675197" y="4"/>
                  <a:pt x="681072" y="439614"/>
                  <a:pt x="681072" y="981899"/>
                </a:cubicBez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1121" tIns="39597" rIns="39597" bIns="39598" numCol="1" spcCol="1270" anchor="ctr" anchorCtr="0">
            <a:noAutofit/>
          </a:bodyPr>
          <a:lstStyle/>
          <a:p>
            <a:pPr marL="57150" lvl="1" indent="-57150" algn="l" defTabSz="44450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300" dirty="0"/>
              <a:t>再次更换一根长直</a:t>
            </a:r>
            <a:r>
              <a:rPr lang="zh-CN" altLang="en-US" sz="1300" dirty="0" smtClean="0"/>
              <a:t>波导、离子泵</a:t>
            </a:r>
            <a:endParaRPr lang="en-US" altLang="zh-CN" sz="1300" dirty="0"/>
          </a:p>
          <a:p>
            <a:pPr marL="57150" lvl="1" indent="-57150" algn="l" defTabSz="444500">
              <a:lnSpc>
                <a:spcPct val="15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zh-CN" altLang="en-US" sz="1300" dirty="0"/>
              <a:t>挤压调配波导相长度</a:t>
            </a:r>
          </a:p>
        </p:txBody>
      </p:sp>
    </p:spTree>
    <p:extLst>
      <p:ext uri="{BB962C8B-B14F-4D97-AF65-F5344CB8AC3E}">
        <p14:creationId xmlns:p14="http://schemas.microsoft.com/office/powerpoint/2010/main" val="1251358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13" name="组合 1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5" name="矩形 1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1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30722" name="Picture 2" descr="未标题-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44" y="4220283"/>
            <a:ext cx="4104457" cy="2161045"/>
          </a:xfrm>
          <a:prstGeom prst="rect">
            <a:avLst/>
          </a:prstGeom>
          <a:ln w="38100" cap="sq">
            <a:solidFill>
              <a:srgbClr val="ECC52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129" y="1652654"/>
            <a:ext cx="4065896" cy="2230745"/>
          </a:xfrm>
          <a:prstGeom prst="rect">
            <a:avLst/>
          </a:prstGeom>
          <a:ln w="38100" cap="sq">
            <a:solidFill>
              <a:srgbClr val="ECC52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9076" y="1792830"/>
            <a:ext cx="2627343" cy="1950391"/>
          </a:xfrm>
          <a:prstGeom prst="rect">
            <a:avLst/>
          </a:prstGeom>
          <a:ln w="38100" cap="sq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8" name="Picture 3" descr="IMG_20121031_18120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700539" y="4245782"/>
            <a:ext cx="2642995" cy="2057616"/>
          </a:xfrm>
          <a:prstGeom prst="rect">
            <a:avLst/>
          </a:prstGeom>
          <a:ln w="38100" cap="sq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椭圆 1"/>
          <p:cNvSpPr/>
          <p:nvPr/>
        </p:nvSpPr>
        <p:spPr bwMode="auto">
          <a:xfrm>
            <a:off x="2288672" y="2736968"/>
            <a:ext cx="792088" cy="216024"/>
          </a:xfrm>
          <a:prstGeom prst="ellipse">
            <a:avLst/>
          </a:prstGeom>
          <a:noFill/>
          <a:ln w="3810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36" tIns="45718" rIns="91436" bIns="45718" numCol="1" rtlCol="0" anchor="ctr" anchorCtr="0" compatLnSpc="1">
            <a:prstTxWarp prst="textNoShape">
              <a:avLst/>
            </a:prstTxWarp>
          </a:bodyPr>
          <a:lstStyle/>
          <a:p>
            <a:pPr algn="ctr" defTabSz="914099"/>
            <a:endParaRPr lang="zh-CN" altLang="en-US" sz="2200" dirty="0" smtClean="0">
              <a:solidFill>
                <a:srgbClr val="FFFFFF">
                  <a:alpha val="98824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1130004" y="2275303"/>
            <a:ext cx="2229415" cy="461665"/>
          </a:xfrm>
          <a:prstGeom prst="rect">
            <a:avLst/>
          </a:prstGeom>
          <a:noFill/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2000" dirty="0">
                <a:solidFill>
                  <a:srgbClr val="FF0000">
                    <a:alpha val="99000"/>
                  </a:srgbClr>
                </a:solidFill>
              </a:rPr>
              <a:t>被</a:t>
            </a:r>
            <a:r>
              <a:rPr lang="zh-CN" altLang="en-US" sz="2000" dirty="0" smtClean="0">
                <a:solidFill>
                  <a:srgbClr val="FF0000">
                    <a:alpha val="99000"/>
                  </a:srgbClr>
                </a:solidFill>
              </a:rPr>
              <a:t>替换的直波导</a:t>
            </a:r>
          </a:p>
        </p:txBody>
      </p:sp>
    </p:spTree>
    <p:extLst>
      <p:ext uri="{BB962C8B-B14F-4D97-AF65-F5344CB8AC3E}">
        <p14:creationId xmlns:p14="http://schemas.microsoft.com/office/powerpoint/2010/main" val="3568394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组合 11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13" name="组合 1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5" name="矩形 1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1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9" name="Rectangle 20"/>
          <p:cNvSpPr/>
          <p:nvPr/>
        </p:nvSpPr>
        <p:spPr bwMode="auto">
          <a:xfrm>
            <a:off x="971600" y="2782372"/>
            <a:ext cx="6753048" cy="1294699"/>
          </a:xfrm>
          <a:prstGeom prst="rect">
            <a:avLst/>
          </a:prstGeom>
          <a:solidFill>
            <a:srgbClr val="5CB1FE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/>
          <a:p>
            <a:pPr>
              <a:defRPr/>
            </a:pP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联系控制组，因空间电磁干扰</a:t>
            </a:r>
            <a:r>
              <a:rPr lang="zh-CN" altLang="en-US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等</a:t>
            </a: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，导致真空误报警、假保护。</a:t>
            </a:r>
            <a:endParaRPr lang="en-US" altLang="zh-CN" sz="2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0" name="Rectangle 22"/>
          <p:cNvSpPr/>
          <p:nvPr/>
        </p:nvSpPr>
        <p:spPr bwMode="auto">
          <a:xfrm>
            <a:off x="971600" y="1772816"/>
            <a:ext cx="6753048" cy="879524"/>
          </a:xfrm>
          <a:prstGeom prst="rect">
            <a:avLst/>
          </a:prstGeom>
          <a:solidFill>
            <a:srgbClr val="FFC000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/>
          <a:p>
            <a:pPr>
              <a:defRPr/>
            </a:pPr>
            <a:r>
              <a:rPr lang="zh-CN" altLang="en-US" sz="3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结论</a:t>
            </a:r>
            <a:endParaRPr lang="en-US" altLang="zh-CN" sz="36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0332687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暑期检修</a:t>
              </a:r>
            </a:p>
          </p:txBody>
        </p:sp>
      </p:grpSp>
      <p:grpSp>
        <p:nvGrpSpPr>
          <p:cNvPr id="47" name="组合 46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48" name="组合 47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0" name="矩形 4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1" name="矩形 50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9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1621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3"/>
          <p:cNvSpPr/>
          <p:nvPr/>
        </p:nvSpPr>
        <p:spPr bwMode="auto">
          <a:xfrm>
            <a:off x="1403350" y="3789363"/>
            <a:ext cx="2133600" cy="503237"/>
          </a:xfrm>
          <a:prstGeom prst="rect">
            <a:avLst/>
          </a:prstGeom>
          <a:solidFill>
            <a:srgbClr val="ECC52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rPr>
              <a:t>K6</a:t>
            </a: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的第三根加速管</a:t>
            </a:r>
            <a:endParaRPr lang="en-US" altLang="zh-CN" sz="1600" dirty="0" smtClean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入口耦合器</a:t>
            </a:r>
          </a:p>
        </p:txBody>
      </p:sp>
      <p:sp>
        <p:nvSpPr>
          <p:cNvPr id="3" name="Rectangle 54"/>
          <p:cNvSpPr/>
          <p:nvPr/>
        </p:nvSpPr>
        <p:spPr bwMode="auto">
          <a:xfrm>
            <a:off x="3668713" y="3789363"/>
            <a:ext cx="2133600" cy="498475"/>
          </a:xfrm>
          <a:prstGeom prst="rect">
            <a:avLst/>
          </a:prstGeom>
          <a:solidFill>
            <a:srgbClr val="A8D02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rPr>
              <a:t>K1-K6</a:t>
            </a: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调制器改造</a:t>
            </a:r>
            <a:endParaRPr lang="en-US" altLang="zh-CN" sz="1600" dirty="0" smtClean="0">
              <a:solidFill>
                <a:srgbClr val="FFFFFF"/>
              </a:solidFill>
              <a:latin typeface="黑体" panose="02010609060101010101" pitchFamily="49" charset="-122"/>
              <a:ea typeface="黑体" panose="02010609060101010101" pitchFamily="49" charset="-122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微波线缆重接</a:t>
            </a:r>
          </a:p>
        </p:txBody>
      </p:sp>
      <p:sp>
        <p:nvSpPr>
          <p:cNvPr id="4" name="Rectangle 55"/>
          <p:cNvSpPr/>
          <p:nvPr/>
        </p:nvSpPr>
        <p:spPr bwMode="auto">
          <a:xfrm>
            <a:off x="5934075" y="3789363"/>
            <a:ext cx="2133600" cy="496887"/>
          </a:xfrm>
          <a:prstGeom prst="rect">
            <a:avLst/>
          </a:prstGeom>
          <a:solidFill>
            <a:srgbClr val="5CB1F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zh-CN" sz="1600" dirty="0" smtClean="0">
                <a:solidFill>
                  <a:srgbClr val="FFFFFF"/>
                </a:solidFill>
                <a:latin typeface="Segoe UI" panose="020B0502040204020203" pitchFamily="34" charset="0"/>
                <a:ea typeface="宋体" panose="02010600030101010101" pitchFamily="2" charset="-122"/>
                <a:cs typeface="Segoe UI" panose="020B0502040204020203" pitchFamily="34" charset="0"/>
              </a:rPr>
              <a:t>8A 9A 11A</a:t>
            </a:r>
          </a:p>
          <a:p>
            <a:pPr algn="ctr">
              <a:defRPr/>
            </a:pP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更换</a:t>
            </a:r>
            <a:r>
              <a:rPr lang="en-US" altLang="zh-CN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10</a:t>
            </a:r>
            <a:r>
              <a:rPr lang="zh-CN" altLang="en-US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rPr>
              <a:t>只干负载</a:t>
            </a:r>
          </a:p>
        </p:txBody>
      </p:sp>
      <p:grpSp>
        <p:nvGrpSpPr>
          <p:cNvPr id="5" name="Group 7"/>
          <p:cNvGrpSpPr/>
          <p:nvPr/>
        </p:nvGrpSpPr>
        <p:grpSpPr>
          <a:xfrm>
            <a:off x="5929446" y="1608883"/>
            <a:ext cx="2133600" cy="2130552"/>
            <a:chOff x="6192825" y="1533756"/>
            <a:chExt cx="2844059" cy="2840736"/>
          </a:xfrm>
          <a:solidFill>
            <a:srgbClr val="5CB1FE"/>
          </a:solidFill>
        </p:grpSpPr>
        <p:sp>
          <p:nvSpPr>
            <p:cNvPr id="6" name="Rectangle 34"/>
            <p:cNvSpPr/>
            <p:nvPr/>
          </p:nvSpPr>
          <p:spPr bwMode="auto">
            <a:xfrm>
              <a:off x="6192825" y="1533756"/>
              <a:ext cx="2844059" cy="2840736"/>
            </a:xfrm>
            <a:prstGeom prst="rect">
              <a:avLst/>
            </a:prstGeom>
            <a:grpFill/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1828800" bIns="0" anchor="ctr"/>
            <a:lstStyle/>
            <a:p>
              <a:pPr algn="ctr" defTabSz="914045">
                <a:lnSpc>
                  <a:spcPct val="90000"/>
                </a:lnSpc>
                <a:spcBef>
                  <a:spcPts val="630"/>
                </a:spcBef>
                <a:buClr>
                  <a:srgbClr val="FFFF99"/>
                </a:buClr>
                <a:buSzPct val="120000"/>
                <a:defRPr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7" name="Picture 19"/>
            <p:cNvPicPr>
              <a:picLocks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31369" y="2138124"/>
              <a:ext cx="2159437" cy="1632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</p:grpSp>
      <p:grpSp>
        <p:nvGrpSpPr>
          <p:cNvPr id="8" name="Group 5"/>
          <p:cNvGrpSpPr/>
          <p:nvPr/>
        </p:nvGrpSpPr>
        <p:grpSpPr>
          <a:xfrm>
            <a:off x="1403650" y="1611909"/>
            <a:ext cx="2133601" cy="2130552"/>
            <a:chOff x="160003" y="1537791"/>
            <a:chExt cx="2844059" cy="2840736"/>
          </a:xfrm>
          <a:solidFill>
            <a:srgbClr val="ECC520"/>
          </a:solidFill>
        </p:grpSpPr>
        <p:sp>
          <p:nvSpPr>
            <p:cNvPr id="9" name="Rectangle 31"/>
            <p:cNvSpPr/>
            <p:nvPr/>
          </p:nvSpPr>
          <p:spPr bwMode="auto">
            <a:xfrm>
              <a:off x="160003" y="1537791"/>
              <a:ext cx="2844059" cy="2840736"/>
            </a:xfrm>
            <a:prstGeom prst="rect">
              <a:avLst/>
            </a:prstGeom>
            <a:grpFill/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1828800" bIns="0" anchor="ctr"/>
            <a:lstStyle/>
            <a:p>
              <a:pPr algn="ctr" defTabSz="914045">
                <a:lnSpc>
                  <a:spcPct val="90000"/>
                </a:lnSpc>
                <a:spcBef>
                  <a:spcPts val="630"/>
                </a:spcBef>
                <a:buClr>
                  <a:srgbClr val="FFFF99"/>
                </a:buClr>
                <a:buSzPct val="120000"/>
                <a:defRPr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10" name="Picture 21"/>
            <p:cNvPicPr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314" y="2155006"/>
              <a:ext cx="2159436" cy="1632000"/>
            </a:xfrm>
            <a:prstGeom prst="roundRect">
              <a:avLst>
                <a:gd name="adj" fmla="val 8594"/>
              </a:avLst>
            </a:prstGeom>
            <a:grpFill/>
            <a:ln>
              <a:noFill/>
            </a:ln>
            <a:effectLst/>
          </p:spPr>
        </p:pic>
      </p:grpSp>
      <p:grpSp>
        <p:nvGrpSpPr>
          <p:cNvPr id="11" name="Group 6"/>
          <p:cNvGrpSpPr/>
          <p:nvPr/>
        </p:nvGrpSpPr>
        <p:grpSpPr>
          <a:xfrm>
            <a:off x="3666547" y="1611909"/>
            <a:ext cx="2133601" cy="2130552"/>
            <a:chOff x="3176414" y="1537791"/>
            <a:chExt cx="2844059" cy="2840736"/>
          </a:xfrm>
          <a:solidFill>
            <a:srgbClr val="A8D02A"/>
          </a:solidFill>
        </p:grpSpPr>
        <p:sp>
          <p:nvSpPr>
            <p:cNvPr id="12" name="Rectangle 37"/>
            <p:cNvSpPr/>
            <p:nvPr/>
          </p:nvSpPr>
          <p:spPr bwMode="auto">
            <a:xfrm>
              <a:off x="3176414" y="1537791"/>
              <a:ext cx="2844059" cy="2840736"/>
            </a:xfrm>
            <a:prstGeom prst="rect">
              <a:avLst/>
            </a:prstGeom>
            <a:grpFill/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1828800" bIns="0" anchor="ctr"/>
            <a:lstStyle/>
            <a:p>
              <a:pPr algn="ctr" defTabSz="914045">
                <a:lnSpc>
                  <a:spcPct val="90000"/>
                </a:lnSpc>
                <a:spcBef>
                  <a:spcPts val="630"/>
                </a:spcBef>
                <a:buClr>
                  <a:srgbClr val="FFFF99"/>
                </a:buClr>
                <a:buSzPct val="120000"/>
                <a:defRPr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13" name="Picture 20"/>
            <p:cNvPicPr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06798" y="2155006"/>
              <a:ext cx="2159436" cy="1632000"/>
            </a:xfrm>
            <a:prstGeom prst="roundRect">
              <a:avLst>
                <a:gd name="adj" fmla="val 8594"/>
              </a:avLst>
            </a:prstGeom>
            <a:grpFill/>
            <a:ln>
              <a:noFill/>
            </a:ln>
            <a:effectLst/>
          </p:spPr>
        </p:pic>
      </p:grpSp>
      <p:grpSp>
        <p:nvGrpSpPr>
          <p:cNvPr id="14" name="组合 13"/>
          <p:cNvGrpSpPr>
            <a:grpSpLocks/>
          </p:cNvGrpSpPr>
          <p:nvPr/>
        </p:nvGrpSpPr>
        <p:grpSpPr bwMode="auto">
          <a:xfrm>
            <a:off x="1403350" y="4335463"/>
            <a:ext cx="6642100" cy="2117725"/>
            <a:chOff x="1403648" y="4335172"/>
            <a:chExt cx="6641503" cy="2118164"/>
          </a:xfrm>
        </p:grpSpPr>
        <p:pic>
          <p:nvPicPr>
            <p:cNvPr id="25611" name="图片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599" y="4335172"/>
              <a:ext cx="2133601" cy="21181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Rectangle 54"/>
            <p:cNvSpPr/>
            <p:nvPr/>
          </p:nvSpPr>
          <p:spPr bwMode="auto">
            <a:xfrm>
              <a:off x="1403648" y="5943642"/>
              <a:ext cx="2133408" cy="498578"/>
            </a:xfrm>
            <a:prstGeom prst="rect">
              <a:avLst/>
            </a:prstGeom>
            <a:solidFill>
              <a:srgbClr val="A8D02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tIns="34294" rIns="0" bIns="68586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en-US" altLang="zh-CN" sz="1600" dirty="0" smtClean="0">
                  <a:solidFill>
                    <a:srgbClr val="FFFFFF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Segoe UI" panose="020B0502040204020203" pitchFamily="34" charset="0"/>
                </a:rPr>
                <a:t>63</a:t>
              </a:r>
              <a:r>
                <a:rPr lang="zh-CN" altLang="en-US" sz="1600" dirty="0" smtClean="0">
                  <a:solidFill>
                    <a:srgbClr val="FFFFFF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Segoe UI" panose="020B0502040204020203" pitchFamily="34" charset="0"/>
                </a:rPr>
                <a:t>根线缆</a:t>
              </a:r>
              <a:endParaRPr lang="en-US" altLang="zh-CN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endParaRPr>
            </a:p>
            <a:p>
              <a:pPr algn="ctr">
                <a:defRPr/>
              </a:pPr>
              <a:r>
                <a:rPr lang="zh-CN" altLang="en-US" sz="1600" dirty="0" smtClean="0">
                  <a:solidFill>
                    <a:srgbClr val="FFFFFF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Segoe UI" panose="020B0502040204020203" pitchFamily="34" charset="0"/>
                </a:rPr>
                <a:t>一次性连接成功</a:t>
              </a:r>
            </a:p>
          </p:txBody>
        </p:sp>
        <p:sp>
          <p:nvSpPr>
            <p:cNvPr id="17" name="Rectangle 54"/>
            <p:cNvSpPr/>
            <p:nvPr/>
          </p:nvSpPr>
          <p:spPr bwMode="auto">
            <a:xfrm>
              <a:off x="5911743" y="5940467"/>
              <a:ext cx="2133408" cy="498578"/>
            </a:xfrm>
            <a:prstGeom prst="rect">
              <a:avLst/>
            </a:prstGeom>
            <a:solidFill>
              <a:srgbClr val="A8D02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lIns="0" tIns="34294" rIns="0" bIns="68586" anchor="ctr"/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defRPr/>
              </a:pPr>
              <a:r>
                <a:rPr lang="zh-CN" altLang="en-US" sz="1600" dirty="0" smtClean="0">
                  <a:solidFill>
                    <a:srgbClr val="FFFFFF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Segoe UI" panose="020B0502040204020203" pitchFamily="34" charset="0"/>
                </a:rPr>
                <a:t>为今年暑期改造</a:t>
              </a:r>
              <a:endParaRPr lang="en-US" altLang="zh-CN" sz="1600" dirty="0" smtClean="0">
                <a:solidFill>
                  <a:srgbClr val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Segoe UI" panose="020B0502040204020203" pitchFamily="34" charset="0"/>
              </a:endParaRPr>
            </a:p>
            <a:p>
              <a:pPr algn="ctr">
                <a:defRPr/>
              </a:pPr>
              <a:r>
                <a:rPr lang="zh-CN" altLang="en-US" sz="1600" dirty="0" smtClean="0">
                  <a:solidFill>
                    <a:srgbClr val="FFFFFF"/>
                  </a:solidFill>
                  <a:latin typeface="黑体" panose="02010609060101010101" pitchFamily="49" charset="-122"/>
                  <a:ea typeface="黑体" panose="02010609060101010101" pitchFamily="49" charset="-122"/>
                  <a:cs typeface="Segoe UI" panose="020B0502040204020203" pitchFamily="34" charset="0"/>
                </a:rPr>
                <a:t>积累经验</a:t>
              </a:r>
            </a:p>
          </p:txBody>
        </p:sp>
      </p:grpSp>
      <p:sp>
        <p:nvSpPr>
          <p:cNvPr id="20" name="矩形 19"/>
          <p:cNvSpPr/>
          <p:nvPr/>
        </p:nvSpPr>
        <p:spPr bwMode="auto">
          <a:xfrm>
            <a:off x="971550" y="0"/>
            <a:ext cx="7345363" cy="1597025"/>
          </a:xfrm>
          <a:prstGeom prst="rect">
            <a:avLst/>
          </a:prstGeom>
          <a:solidFill>
            <a:srgbClr val="1D4C7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zh-CN" altLang="en-US" sz="22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740718" y="54149"/>
            <a:ext cx="4928295" cy="1477328"/>
            <a:chOff x="573021" y="1530519"/>
            <a:chExt cx="4928294" cy="1477328"/>
          </a:xfrm>
        </p:grpSpPr>
        <p:grpSp>
          <p:nvGrpSpPr>
            <p:cNvPr id="22" name="组合 21"/>
            <p:cNvGrpSpPr/>
            <p:nvPr/>
          </p:nvGrpSpPr>
          <p:grpSpPr>
            <a:xfrm>
              <a:off x="573021" y="1530519"/>
              <a:ext cx="891312" cy="1477328"/>
              <a:chOff x="332656" y="1691759"/>
              <a:chExt cx="1130238" cy="1941146"/>
            </a:xfrm>
          </p:grpSpPr>
          <p:sp>
            <p:nvSpPr>
              <p:cNvPr id="24" name="矩形 23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415644" y="1691759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3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暑期检修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3"/>
          <p:cNvSpPr/>
          <p:nvPr/>
        </p:nvSpPr>
        <p:spPr bwMode="auto">
          <a:xfrm>
            <a:off x="1187576" y="4426970"/>
            <a:ext cx="2952376" cy="730222"/>
          </a:xfrm>
          <a:prstGeom prst="rect">
            <a:avLst/>
          </a:prstGeom>
          <a:solidFill>
            <a:srgbClr val="ECC52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zh-CN" altLang="zh-CN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正电子源真空变差</a:t>
            </a:r>
            <a:endParaRPr lang="en-US" altLang="zh-CN" sz="2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zh-CN" altLang="en-US" sz="20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耦合器检查</a:t>
            </a:r>
          </a:p>
        </p:txBody>
      </p:sp>
      <p:sp>
        <p:nvSpPr>
          <p:cNvPr id="3" name="Rectangle 54"/>
          <p:cNvSpPr/>
          <p:nvPr/>
        </p:nvSpPr>
        <p:spPr bwMode="auto">
          <a:xfrm>
            <a:off x="5004376" y="4426970"/>
            <a:ext cx="2807984" cy="730222"/>
          </a:xfrm>
          <a:prstGeom prst="rect">
            <a:avLst/>
          </a:prstGeom>
          <a:solidFill>
            <a:srgbClr val="A8D02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zh-CN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K7—K12</a:t>
            </a:r>
            <a:r>
              <a: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调制器改造</a:t>
            </a:r>
            <a:endParaRPr lang="en-US" altLang="zh-CN" sz="2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Segoe UI" panose="020B0502040204020203" pitchFamily="34" charset="0"/>
            </a:endParaRPr>
          </a:p>
          <a:p>
            <a:pPr algn="ctr">
              <a:defRPr/>
            </a:pPr>
            <a:r>
              <a:rPr lang="zh-CN" altLang="en-US" sz="2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微波线缆拆除</a:t>
            </a:r>
          </a:p>
        </p:txBody>
      </p:sp>
      <p:grpSp>
        <p:nvGrpSpPr>
          <p:cNvPr id="8" name="Group 5"/>
          <p:cNvGrpSpPr/>
          <p:nvPr/>
        </p:nvGrpSpPr>
        <p:grpSpPr>
          <a:xfrm>
            <a:off x="1187626" y="2057502"/>
            <a:ext cx="2952326" cy="2130554"/>
            <a:chOff x="134609" y="1944356"/>
            <a:chExt cx="3935409" cy="2840739"/>
          </a:xfrm>
          <a:solidFill>
            <a:srgbClr val="ECC520"/>
          </a:solidFill>
        </p:grpSpPr>
        <p:sp>
          <p:nvSpPr>
            <p:cNvPr id="9" name="Rectangle 31"/>
            <p:cNvSpPr/>
            <p:nvPr/>
          </p:nvSpPr>
          <p:spPr bwMode="auto">
            <a:xfrm>
              <a:off x="134609" y="1944356"/>
              <a:ext cx="3935409" cy="2840739"/>
            </a:xfrm>
            <a:prstGeom prst="rect">
              <a:avLst/>
            </a:prstGeom>
            <a:grpFill/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1828800" bIns="0" anchor="ctr"/>
            <a:lstStyle/>
            <a:p>
              <a:pPr algn="ctr" defTabSz="914045">
                <a:lnSpc>
                  <a:spcPct val="90000"/>
                </a:lnSpc>
                <a:spcBef>
                  <a:spcPts val="630"/>
                </a:spcBef>
                <a:buClr>
                  <a:srgbClr val="FFFF99"/>
                </a:buClr>
                <a:buSzPct val="120000"/>
                <a:defRPr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10" name="Picture 2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314" y="2161006"/>
              <a:ext cx="3199170" cy="2400000"/>
            </a:xfrm>
            <a:prstGeom prst="roundRect">
              <a:avLst>
                <a:gd name="adj" fmla="val 8594"/>
              </a:avLst>
            </a:prstGeom>
            <a:grpFill/>
            <a:ln>
              <a:noFill/>
            </a:ln>
            <a:effectLst/>
          </p:spPr>
        </p:pic>
      </p:grpSp>
      <p:grpSp>
        <p:nvGrpSpPr>
          <p:cNvPr id="11" name="Group 6"/>
          <p:cNvGrpSpPr/>
          <p:nvPr/>
        </p:nvGrpSpPr>
        <p:grpSpPr>
          <a:xfrm>
            <a:off x="5004376" y="2057502"/>
            <a:ext cx="2807984" cy="2130552"/>
            <a:chOff x="3176413" y="1537791"/>
            <a:chExt cx="3742998" cy="2840736"/>
          </a:xfrm>
          <a:solidFill>
            <a:srgbClr val="A8D02A"/>
          </a:solidFill>
        </p:grpSpPr>
        <p:sp>
          <p:nvSpPr>
            <p:cNvPr id="12" name="Rectangle 37"/>
            <p:cNvSpPr>
              <a:spLocks/>
            </p:cNvSpPr>
            <p:nvPr/>
          </p:nvSpPr>
          <p:spPr bwMode="auto">
            <a:xfrm>
              <a:off x="3176413" y="1537791"/>
              <a:ext cx="3742998" cy="2840736"/>
            </a:xfrm>
            <a:prstGeom prst="rect">
              <a:avLst/>
            </a:prstGeom>
            <a:grpFill/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tIns="1828800" bIns="0" anchor="ctr"/>
            <a:lstStyle/>
            <a:p>
              <a:pPr algn="ctr" defTabSz="914045">
                <a:lnSpc>
                  <a:spcPct val="90000"/>
                </a:lnSpc>
                <a:spcBef>
                  <a:spcPts val="630"/>
                </a:spcBef>
                <a:buClr>
                  <a:srgbClr val="FFFF99"/>
                </a:buClr>
                <a:buSzPct val="120000"/>
                <a:defRPr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pic>
          <p:nvPicPr>
            <p:cNvPr id="13" name="Picture 2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45347" y="1768166"/>
              <a:ext cx="3027509" cy="2400000"/>
            </a:xfrm>
            <a:prstGeom prst="roundRect">
              <a:avLst>
                <a:gd name="adj" fmla="val 8594"/>
              </a:avLst>
            </a:prstGeom>
            <a:grpFill/>
            <a:ln>
              <a:noFill/>
            </a:ln>
            <a:effectLst/>
          </p:spPr>
        </p:pic>
      </p:grpSp>
      <p:sp>
        <p:nvSpPr>
          <p:cNvPr id="20" name="矩形 19"/>
          <p:cNvSpPr/>
          <p:nvPr/>
        </p:nvSpPr>
        <p:spPr bwMode="auto">
          <a:xfrm>
            <a:off x="971550" y="0"/>
            <a:ext cx="7345363" cy="1597025"/>
          </a:xfrm>
          <a:prstGeom prst="rect">
            <a:avLst/>
          </a:prstGeom>
          <a:solidFill>
            <a:srgbClr val="1D4C7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zh-CN" altLang="en-US" sz="22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grpSp>
        <p:nvGrpSpPr>
          <p:cNvPr id="21" name="组合 20"/>
          <p:cNvGrpSpPr/>
          <p:nvPr/>
        </p:nvGrpSpPr>
        <p:grpSpPr>
          <a:xfrm>
            <a:off x="740718" y="54149"/>
            <a:ext cx="4928295" cy="1477328"/>
            <a:chOff x="573021" y="1530519"/>
            <a:chExt cx="4928294" cy="1477328"/>
          </a:xfrm>
        </p:grpSpPr>
        <p:grpSp>
          <p:nvGrpSpPr>
            <p:cNvPr id="22" name="组合 21"/>
            <p:cNvGrpSpPr/>
            <p:nvPr/>
          </p:nvGrpSpPr>
          <p:grpSpPr>
            <a:xfrm>
              <a:off x="573021" y="1530519"/>
              <a:ext cx="891312" cy="1477328"/>
              <a:chOff x="332656" y="1691759"/>
              <a:chExt cx="1130238" cy="1941146"/>
            </a:xfrm>
          </p:grpSpPr>
          <p:sp>
            <p:nvSpPr>
              <p:cNvPr id="24" name="矩形 23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5" name="矩形 24"/>
              <p:cNvSpPr/>
              <p:nvPr/>
            </p:nvSpPr>
            <p:spPr>
              <a:xfrm>
                <a:off x="415644" y="1691759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3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暑期检修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6" name="Rectangle 55"/>
          <p:cNvSpPr/>
          <p:nvPr/>
        </p:nvSpPr>
        <p:spPr bwMode="auto">
          <a:xfrm>
            <a:off x="3419872" y="5380385"/>
            <a:ext cx="2448272" cy="496887"/>
          </a:xfrm>
          <a:prstGeom prst="rect">
            <a:avLst/>
          </a:prstGeom>
          <a:solidFill>
            <a:srgbClr val="5CB1F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tIns="34294" rIns="0" bIns="68586" anchor="ctr"/>
          <a:lstStyle>
            <a:lvl1pPr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842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en-US" altLang="zh-CN" sz="2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2013</a:t>
            </a:r>
            <a:r>
              <a:rPr lang="zh-CN" altLang="en-US" sz="2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rPr>
              <a:t>暑期停机</a:t>
            </a:r>
          </a:p>
        </p:txBody>
      </p:sp>
    </p:spTree>
    <p:extLst>
      <p:ext uri="{BB962C8B-B14F-4D97-AF65-F5344CB8AC3E}">
        <p14:creationId xmlns:p14="http://schemas.microsoft.com/office/powerpoint/2010/main" val="51382149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2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暑期检修</a:t>
              </a: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53" name="组合 5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5" name="矩形 5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矩形 5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5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28940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暑期检修</a:t>
              </a: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53" name="组合 5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5" name="矩形 5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矩形 5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5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b="1" dirty="0">
                <a:solidFill>
                  <a:srgbClr val="ECC52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2772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spect="1"/>
          </p:cNvSpPr>
          <p:nvPr/>
        </p:nvSpPr>
        <p:spPr bwMode="auto">
          <a:xfrm>
            <a:off x="4355976" y="2060383"/>
            <a:ext cx="4526575" cy="1033502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05767" tIns="34293" rIns="205767" bIns="34295" anchor="ctr"/>
          <a:lstStyle/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开关波导阀门</a:t>
            </a:r>
            <a:r>
              <a:rPr lang="zh-CN" altLang="en-US" sz="125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（开关机、移动速调管，</a:t>
            </a:r>
            <a:r>
              <a:rPr lang="zh-CN" altLang="en-US" sz="1250" dirty="0" smtClean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高空作业）</a:t>
            </a:r>
            <a:endParaRPr lang="en-US" altLang="zh-CN" sz="1250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</a:endParaRPr>
          </a:p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套时间</a:t>
            </a:r>
            <a:endParaRPr lang="en-US" altLang="zh-CN" sz="1600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</a:endParaRPr>
          </a:p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测功率</a:t>
            </a:r>
            <a:r>
              <a:rPr lang="zh-CN" altLang="en-US" sz="14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（帮董东老师测量测试大厅速调管功率）</a:t>
            </a:r>
            <a:endParaRPr lang="en-US" altLang="zh-CN" sz="1400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</a:endParaRPr>
          </a:p>
        </p:txBody>
      </p:sp>
      <p:sp>
        <p:nvSpPr>
          <p:cNvPr id="3" name="Rectangle 7"/>
          <p:cNvSpPr>
            <a:spLocks noChangeAspect="1"/>
          </p:cNvSpPr>
          <p:nvPr/>
        </p:nvSpPr>
        <p:spPr bwMode="auto">
          <a:xfrm>
            <a:off x="4355976" y="3308161"/>
            <a:ext cx="4526575" cy="1033502"/>
          </a:xfrm>
          <a:prstGeom prst="rect">
            <a:avLst/>
          </a:prstGeom>
          <a:solidFill>
            <a:srgbClr val="5CB1FE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05767" tIns="34293" rIns="205767" bIns="34295" anchor="ctr"/>
          <a:lstStyle/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更换聚束器大功率移向</a:t>
            </a:r>
            <a:r>
              <a:rPr lang="zh-CN" altLang="en-US" sz="1600" dirty="0" smtClean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衰减器的控制器中的驱动器</a:t>
            </a:r>
            <a:endParaRPr lang="en-US" altLang="zh-CN" sz="1600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</a:endParaRPr>
          </a:p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定制</a:t>
            </a:r>
            <a:r>
              <a:rPr 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SLED</a:t>
            </a: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陶瓷柱</a:t>
            </a:r>
            <a:endParaRPr lang="en-US" altLang="zh-CN" sz="1600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</a:endParaRPr>
          </a:p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en-US" altLang="zh-CN" sz="1600" dirty="0" smtClean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《</a:t>
            </a:r>
            <a:r>
              <a:rPr lang="zh-CN" altLang="en-US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直线十一假期微波组软硬件故障处理</a:t>
            </a:r>
            <a:r>
              <a:rPr lang="en-US" altLang="zh-CN" sz="1600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</a:rPr>
              <a:t>》</a:t>
            </a:r>
          </a:p>
        </p:txBody>
      </p:sp>
      <p:sp>
        <p:nvSpPr>
          <p:cNvPr id="4" name="Rectangle 8"/>
          <p:cNvSpPr>
            <a:spLocks noChangeAspect="1"/>
          </p:cNvSpPr>
          <p:nvPr/>
        </p:nvSpPr>
        <p:spPr bwMode="auto">
          <a:xfrm>
            <a:off x="4356100" y="4555778"/>
            <a:ext cx="4525963" cy="1033462"/>
          </a:xfrm>
          <a:prstGeom prst="rect">
            <a:avLst/>
          </a:prstGeom>
          <a:solidFill>
            <a:srgbClr val="FFC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05767" tIns="34293" rIns="205767" bIns="34295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sym typeface="Calibri" panose="020F0502020204030204" pitchFamily="34" charset="0"/>
              </a:rPr>
              <a:t>半导体恒温箱加纯净水</a:t>
            </a:r>
            <a:endParaRPr lang="en-US" altLang="zh-CN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+mn-lt"/>
              <a:sym typeface="Calibri" panose="020F0502020204030204" pitchFamily="34" charset="0"/>
            </a:endParaRPr>
          </a:p>
          <a:p>
            <a:pPr marL="285750" indent="-285750" defTabSz="914036">
              <a:buClr>
                <a:srgbClr val="FFFFFF">
                  <a:lumMod val="50000"/>
                  <a:lumOff val="50000"/>
                </a:srgbClr>
              </a:buClr>
              <a:buFont typeface="Arial" panose="020B0604020202020204" pitchFamily="34" charset="0"/>
              <a:buChar char="•"/>
              <a:defRPr/>
            </a:pPr>
            <a:r>
              <a:rPr lang="zh-CN" altLang="en-US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sym typeface="Calibri" panose="020F0502020204030204" pitchFamily="34" charset="0"/>
              </a:rPr>
              <a:t>排查固放输出和</a:t>
            </a:r>
            <a:r>
              <a:rPr lang="en-US" altLang="zh-CN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sym typeface="Calibri" panose="020F0502020204030204" pitchFamily="34" charset="0"/>
              </a:rPr>
              <a:t>K1</a:t>
            </a:r>
            <a:r>
              <a:rPr lang="zh-CN" altLang="en-US" dirty="0">
                <a:gradFill flip="none" rotWithShape="1"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sym typeface="Calibri" panose="020F0502020204030204" pitchFamily="34" charset="0"/>
              </a:rPr>
              <a:t>输出稳定性</a:t>
            </a:r>
            <a:endParaRPr lang="en-US" altLang="zh-CN" dirty="0">
              <a:gradFill flip="none" rotWithShape="1"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path path="circle">
                  <a:fillToRect r="100000" b="100000"/>
                </a:path>
                <a:tileRect l="-100000" t="-100000"/>
              </a:gradFill>
              <a:latin typeface="+mn-lt"/>
              <a:sym typeface="Calibri" panose="020F0502020204030204" pitchFamily="34" charset="0"/>
            </a:endParaRPr>
          </a:p>
        </p:txBody>
      </p:sp>
      <p:pic>
        <p:nvPicPr>
          <p:cNvPr id="6" name="Picture 1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44800" y="3662270"/>
            <a:ext cx="1169988" cy="1619250"/>
          </a:xfrm>
          <a:prstGeom prst="rect">
            <a:avLst/>
          </a:prstGeom>
          <a:ln w="38100" cap="sq">
            <a:solidFill>
              <a:srgbClr val="5CB1FE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9725" y="2158907"/>
            <a:ext cx="1679575" cy="1258888"/>
          </a:xfrm>
          <a:prstGeom prst="rect">
            <a:avLst/>
          </a:prstGeom>
          <a:ln w="38100" cap="sq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84338" y="3986120"/>
            <a:ext cx="971550" cy="936625"/>
          </a:xfrm>
          <a:prstGeom prst="rect">
            <a:avLst/>
          </a:prstGeom>
          <a:ln w="38100" cap="sq">
            <a:solidFill>
              <a:srgbClr val="5CB1FE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2900" y="3652745"/>
            <a:ext cx="1169988" cy="1620837"/>
          </a:xfrm>
          <a:prstGeom prst="rect">
            <a:avLst/>
          </a:prstGeom>
          <a:ln w="38100" cap="sq">
            <a:solidFill>
              <a:srgbClr val="5CB1FE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Picture 2" descr="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252663" y="2165257"/>
            <a:ext cx="1673225" cy="1260475"/>
          </a:xfrm>
          <a:prstGeom prst="rect">
            <a:avLst/>
          </a:prstGeom>
          <a:ln w="38100" cap="sq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组合 13"/>
          <p:cNvGrpSpPr/>
          <p:nvPr/>
        </p:nvGrpSpPr>
        <p:grpSpPr>
          <a:xfrm>
            <a:off x="740718" y="54149"/>
            <a:ext cx="4928295" cy="1477328"/>
            <a:chOff x="573021" y="1530519"/>
            <a:chExt cx="4928294" cy="1477328"/>
          </a:xfrm>
        </p:grpSpPr>
        <p:grpSp>
          <p:nvGrpSpPr>
            <p:cNvPr id="15" name="组合 14"/>
            <p:cNvGrpSpPr/>
            <p:nvPr/>
          </p:nvGrpSpPr>
          <p:grpSpPr>
            <a:xfrm>
              <a:off x="573021" y="1530519"/>
              <a:ext cx="891312" cy="1477328"/>
              <a:chOff x="332656" y="1691759"/>
              <a:chExt cx="1130238" cy="1941146"/>
            </a:xfrm>
          </p:grpSpPr>
          <p:sp>
            <p:nvSpPr>
              <p:cNvPr id="17" name="矩形 16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415644" y="1691759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16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 bwMode="auto">
          <a:xfrm>
            <a:off x="0" y="0"/>
            <a:ext cx="4211638" cy="6858000"/>
          </a:xfrm>
          <a:prstGeom prst="rect">
            <a:avLst/>
          </a:prstGeom>
          <a:solidFill>
            <a:srgbClr val="1D4C7C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zh-CN" altLang="en-US" sz="2200">
              <a:solidFill>
                <a:srgbClr val="FFFFFF"/>
              </a:solidFill>
              <a:latin typeface="Segoe UI" panose="020B0502040204020203" pitchFamily="34" charset="0"/>
              <a:ea typeface="宋体" panose="02010600030101010101" pitchFamily="2" charset="-122"/>
              <a:cs typeface="Segoe UI" panose="020B0502040204020203" pitchFamily="34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26824" y="2978589"/>
            <a:ext cx="8229600" cy="927100"/>
          </a:xfrm>
          <a:prstGeom prst="rect">
            <a:avLst/>
          </a:prstGeom>
          <a:extLst/>
        </p:spPr>
        <p:txBody>
          <a:bodyPr/>
          <a:lstStyle>
            <a:lvl1pPr algn="l" defTabSz="684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3300" kern="1200" spc="-75" dirty="0">
                <a:ln w="3175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86000">
                      <a:schemeClr val="tx1"/>
                    </a:gs>
                  </a:gsLst>
                  <a:lin ang="5400000" scaled="0"/>
                  <a:tileRect/>
                </a:gradFill>
                <a:latin typeface="+mj-lt"/>
                <a:ea typeface="+mn-ea"/>
                <a:cs typeface="Arial" charset="0"/>
              </a:defRPr>
            </a:lvl1pPr>
            <a:lvl2pPr algn="l" defTabSz="684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2pPr>
            <a:lvl3pPr algn="l" defTabSz="684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3pPr>
            <a:lvl4pPr algn="l" defTabSz="684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4pPr>
            <a:lvl5pPr algn="l" defTabSz="684213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5pPr>
            <a:lvl6pPr marL="457200" algn="l" defTabSz="684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6pPr>
            <a:lvl7pPr marL="914400" algn="l" defTabSz="684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7pPr>
            <a:lvl8pPr marL="1371600" algn="l" defTabSz="684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8pPr>
            <a:lvl9pPr marL="1828800" algn="l" defTabSz="68421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300">
                <a:solidFill>
                  <a:schemeClr val="tx1"/>
                </a:solidFill>
                <a:latin typeface="Segoe UI" panose="020B0502040204020203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altLang="zh-CN" sz="6600" b="1" i="1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tx1"/>
                </a:solidFill>
                <a:cs typeface="Segoe UI" pitchFamily="34" charset="0"/>
              </a:rPr>
              <a:t>Thank You</a:t>
            </a:r>
            <a:endParaRPr lang="zh-CN" altLang="en-US" sz="6600" b="1" i="1" smtClean="0">
              <a:solidFill>
                <a:schemeClr val="tx1"/>
              </a:solidFill>
              <a:ea typeface="宋体" panose="02010600030101010101" pitchFamily="2" charset="-122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6769080" y="6012496"/>
            <a:ext cx="2374920" cy="836712"/>
          </a:xfrm>
          <a:prstGeom prst="rect">
            <a:avLst/>
          </a:prstGeom>
          <a:solidFill>
            <a:srgbClr val="ED5224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r>
              <a:rPr lang="en-US" altLang="zh-CN" sz="3600" b="1" dirty="0">
                <a:solidFill>
                  <a:srgbClr val="FFFFFF">
                    <a:alpha val="98824"/>
                  </a:srgbClr>
                </a:solidFill>
                <a:ea typeface="Segoe UI" pitchFamily="34" charset="0"/>
                <a:cs typeface="Segoe UI" pitchFamily="34" charset="0"/>
              </a:rPr>
              <a:t>IHEP</a:t>
            </a:r>
            <a:endParaRPr lang="zh-CN" altLang="en-US" sz="3600" b="1" dirty="0">
              <a:solidFill>
                <a:srgbClr val="FFFFFF">
                  <a:alpha val="98824"/>
                </a:srgbClr>
              </a:solidFill>
              <a:ea typeface="Segoe UI" pitchFamily="34" charset="0"/>
              <a:cs typeface="Segoe UI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727745" y="-12288"/>
            <a:ext cx="4640390" cy="1785104"/>
            <a:chOff x="573022" y="1484782"/>
            <a:chExt cx="4640389" cy="1785104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1000412" cy="1785104"/>
              <a:chOff x="332656" y="1631664"/>
              <a:chExt cx="1268584" cy="2345550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373078" y="1631664"/>
                <a:ext cx="1228162" cy="2345550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1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1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组运行总揽</a:t>
              </a:r>
              <a:endParaRPr lang="en-US" altLang="zh-CN" sz="3200" b="1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8" name="Rectangle 2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23071" y="1709773"/>
            <a:ext cx="1760699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加速管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9" name="Rectangle 2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723071" y="2342749"/>
            <a:ext cx="1760699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波导阀门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10" name="Rectangle 2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23865" y="2975725"/>
            <a:ext cx="1759905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能量倍增器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11" name="Rectangle 22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726918" y="4243398"/>
            <a:ext cx="1772353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微波功率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12" name="Rectangle 22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726918" y="4913626"/>
            <a:ext cx="1772354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相控系统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14" name="Rectangle 22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723071" y="5628591"/>
            <a:ext cx="1760699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波导系统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22" name="Rectangle 22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723865" y="3609562"/>
            <a:ext cx="1759905" cy="487060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defTabSz="914022">
              <a:lnSpc>
                <a:spcPct val="90000"/>
              </a:lnSpc>
              <a:spcBef>
                <a:spcPts val="629"/>
              </a:spcBef>
              <a:buClr>
                <a:schemeClr val="bg2">
                  <a:lumMod val="75000"/>
                </a:schemeClr>
              </a:buClr>
              <a:buSzPct val="100000"/>
              <a:defRPr/>
            </a:pPr>
            <a:r>
              <a:rPr lang="zh-CN" altLang="en-US" sz="2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激励部分</a:t>
            </a:r>
            <a:endParaRPr lang="en-US" sz="24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21" name="矩形 20"/>
          <p:cNvSpPr>
            <a:spLocks noChangeAspect="1"/>
          </p:cNvSpPr>
          <p:nvPr/>
        </p:nvSpPr>
        <p:spPr>
          <a:xfrm>
            <a:off x="2843810" y="5628591"/>
            <a:ext cx="576064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5" name="矩形 14"/>
          <p:cNvSpPr>
            <a:spLocks noChangeAspect="1"/>
          </p:cNvSpPr>
          <p:nvPr/>
        </p:nvSpPr>
        <p:spPr>
          <a:xfrm>
            <a:off x="2843810" y="1709772"/>
            <a:ext cx="360040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6" name="矩形 15"/>
          <p:cNvSpPr>
            <a:spLocks noChangeAspect="1"/>
          </p:cNvSpPr>
          <p:nvPr/>
        </p:nvSpPr>
        <p:spPr>
          <a:xfrm>
            <a:off x="2843810" y="2342749"/>
            <a:ext cx="360040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7" name="矩形 16"/>
          <p:cNvSpPr>
            <a:spLocks noChangeAspect="1"/>
          </p:cNvSpPr>
          <p:nvPr/>
        </p:nvSpPr>
        <p:spPr>
          <a:xfrm>
            <a:off x="2843810" y="2975725"/>
            <a:ext cx="360040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8" name="矩形 17"/>
          <p:cNvSpPr>
            <a:spLocks noChangeAspect="1"/>
          </p:cNvSpPr>
          <p:nvPr/>
        </p:nvSpPr>
        <p:spPr>
          <a:xfrm>
            <a:off x="2859311" y="4243398"/>
            <a:ext cx="1224136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19" name="矩形 18"/>
          <p:cNvSpPr>
            <a:spLocks noChangeAspect="1"/>
          </p:cNvSpPr>
          <p:nvPr/>
        </p:nvSpPr>
        <p:spPr>
          <a:xfrm>
            <a:off x="2859311" y="4913626"/>
            <a:ext cx="4536504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23" name="矩形 22"/>
          <p:cNvSpPr>
            <a:spLocks noChangeAspect="1"/>
          </p:cNvSpPr>
          <p:nvPr/>
        </p:nvSpPr>
        <p:spPr>
          <a:xfrm>
            <a:off x="2843810" y="3609562"/>
            <a:ext cx="360040" cy="487061"/>
          </a:xfrm>
          <a:prstGeom prst="rect">
            <a:avLst/>
          </a:prstGeom>
          <a:solidFill>
            <a:srgbClr val="ECC520"/>
          </a:solidFill>
          <a:ln>
            <a:solidFill>
              <a:srgbClr val="ECC52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zh-CN" altLang="en-US" sz="2800" dirty="0"/>
          </a:p>
        </p:txBody>
      </p:sp>
      <p:sp>
        <p:nvSpPr>
          <p:cNvPr id="29" name="矩形 28"/>
          <p:cNvSpPr/>
          <p:nvPr/>
        </p:nvSpPr>
        <p:spPr>
          <a:xfrm>
            <a:off x="2816836" y="1467147"/>
            <a:ext cx="612667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0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0</a:t>
            </a:r>
            <a:endParaRPr lang="zh-CN" altLang="en-US" sz="60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2809899" y="3358405"/>
            <a:ext cx="612667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0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0</a:t>
            </a:r>
            <a:endParaRPr lang="zh-CN" altLang="en-US" sz="60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2812489" y="2735609"/>
            <a:ext cx="612667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0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0</a:t>
            </a:r>
            <a:endParaRPr lang="zh-CN" altLang="en-US" sz="60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2809900" y="2095140"/>
            <a:ext cx="612667" cy="101566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0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0</a:t>
            </a:r>
            <a:endParaRPr lang="zh-CN" altLang="en-US" sz="60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26" name="矩形 1"/>
          <p:cNvSpPr>
            <a:spLocks noChangeArrowheads="1"/>
          </p:cNvSpPr>
          <p:nvPr/>
        </p:nvSpPr>
        <p:spPr bwMode="auto">
          <a:xfrm>
            <a:off x="611560" y="1683224"/>
            <a:ext cx="7922751" cy="2448272"/>
          </a:xfrm>
          <a:prstGeom prst="rect">
            <a:avLst/>
          </a:prstGeom>
          <a:solidFill>
            <a:schemeClr val="accent1">
              <a:lumMod val="20000"/>
              <a:lumOff val="80000"/>
              <a:alpha val="8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endParaRPr lang="zh-CN" altLang="en-US" smtClean="0">
              <a:solidFill>
                <a:srgbClr val="FFFFFF"/>
              </a:solidFill>
              <a:ea typeface="宋体" panose="02010600030101010101" pitchFamily="2" charset="-122"/>
            </a:endParaRPr>
          </a:p>
        </p:txBody>
      </p:sp>
      <p:sp>
        <p:nvSpPr>
          <p:cNvPr id="24" name="Rectangle 22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1667297" y="2323936"/>
            <a:ext cx="5904656" cy="1137865"/>
          </a:xfrm>
          <a:prstGeom prst="rect">
            <a:avLst/>
          </a:prstGeom>
          <a:solidFill>
            <a:srgbClr val="3397D3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28" tIns="137172" rIns="91428" bIns="45715" anchor="ctr"/>
          <a:lstStyle/>
          <a:p>
            <a:pPr eaLnBrk="1" hangingPunct="1"/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微波组各系统及部件运行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良好，全年</a:t>
            </a:r>
            <a:r>
              <a:rPr lang="zh-CN" altLang="en-US" sz="32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运行未发生重大</a:t>
            </a:r>
            <a:r>
              <a:rPr lang="zh-CN" altLang="en-US" sz="32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rPr>
              <a:t>故障。</a:t>
            </a:r>
            <a:endParaRPr lang="zh-CN" altLang="en-US" sz="32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cs typeface="Segoe UI" pitchFamily="34" charset="0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623676" y="3932495"/>
            <a:ext cx="655949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6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6</a:t>
            </a:r>
            <a:endParaRPr lang="zh-CN" altLang="en-US" sz="66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6465538" y="4626409"/>
            <a:ext cx="1127232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6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26</a:t>
            </a:r>
            <a:endParaRPr lang="zh-CN" altLang="en-US" sz="66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4088656" y="5276264"/>
            <a:ext cx="748923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6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X</a:t>
            </a:r>
            <a:endParaRPr lang="zh-CN" altLang="en-US" sz="66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990176" y="5345340"/>
            <a:ext cx="655949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altLang="zh-CN" sz="6600" b="0" cap="none" spc="0" dirty="0" smtClean="0">
                <a:ln w="18415" cmpd="sng">
                  <a:noFill/>
                  <a:prstDash val="solid"/>
                </a:ln>
                <a:solidFill>
                  <a:srgbClr val="1D4C7C"/>
                </a:solidFill>
                <a:latin typeface="Segoe WP" pitchFamily="34" charset="0"/>
              </a:rPr>
              <a:t>1</a:t>
            </a:r>
            <a:endParaRPr lang="zh-CN" altLang="en-US" sz="6600" b="0" cap="none" spc="0" dirty="0">
              <a:ln w="18415" cmpd="sng">
                <a:noFill/>
                <a:prstDash val="solid"/>
              </a:ln>
              <a:solidFill>
                <a:srgbClr val="1D4C7C"/>
              </a:solidFill>
              <a:latin typeface="Segoe WP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52029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b="1" dirty="0" smtClean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b="1" dirty="0">
                <a:solidFill>
                  <a:srgbClr val="ECC52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波导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暑期检修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53" name="组合 5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5" name="矩形 5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矩形 5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5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02645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736526" y="44624"/>
            <a:ext cx="4929563" cy="1477328"/>
            <a:chOff x="573021" y="1520994"/>
            <a:chExt cx="4929562" cy="1477328"/>
          </a:xfrm>
        </p:grpSpPr>
        <p:grpSp>
          <p:nvGrpSpPr>
            <p:cNvPr id="8" name="组合 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0" name="矩形 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矩形 1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功率采集与传输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2" name="Rectangle 2"/>
          <p:cNvSpPr>
            <a:spLocks noChangeAspect="1"/>
          </p:cNvSpPr>
          <p:nvPr/>
        </p:nvSpPr>
        <p:spPr bwMode="auto">
          <a:xfrm>
            <a:off x="761382" y="1676802"/>
            <a:ext cx="3638918" cy="1840230"/>
          </a:xfrm>
          <a:prstGeom prst="rect">
            <a:avLst/>
          </a:prstGeom>
          <a:solidFill>
            <a:srgbClr val="3397D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r" defTabSz="685478">
              <a:defRPr/>
            </a:pP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运行共计</a:t>
            </a:r>
            <a:r>
              <a:rPr lang="en-US" altLang="zh-CN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22</a:t>
            </a: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台</a:t>
            </a:r>
            <a:endParaRPr lang="en-US" altLang="zh-CN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algn="r" defTabSz="685478">
              <a:defRPr/>
            </a:pP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备份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9</a:t>
            </a: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台</a:t>
            </a:r>
            <a:endParaRPr lang="en-US" altLang="zh-CN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algn="r" defTabSz="685478">
              <a:defRPr/>
            </a:pPr>
            <a:r>
              <a:rPr lang="en-US" altLang="zh-CN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《</a:t>
            </a: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功率计维护</a:t>
            </a:r>
            <a:r>
              <a:rPr lang="zh-CN" altLang="en-US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档案</a:t>
            </a:r>
            <a:r>
              <a:rPr lang="en-US" altLang="zh-CN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》</a:t>
            </a:r>
            <a:r>
              <a:rPr lang="zh-CN" altLang="en-US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新增</a:t>
            </a:r>
            <a:r>
              <a:rPr lang="en-US" altLang="zh-CN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574</a:t>
            </a:r>
            <a:r>
              <a:rPr lang="zh-CN" altLang="en-US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字</a:t>
            </a: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（常规软硬件故障</a:t>
            </a:r>
            <a:r>
              <a:rPr lang="zh-CN" altLang="en-US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）</a:t>
            </a:r>
            <a:r>
              <a:rPr lang="en-US" altLang="zh-CN" sz="20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5min</a:t>
            </a:r>
            <a:r>
              <a:rPr lang="zh-CN" altLang="en-US" sz="20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快</a:t>
            </a:r>
            <a:r>
              <a:rPr lang="zh-CN" altLang="en-US" sz="20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修</a:t>
            </a:r>
            <a:endParaRPr lang="en-US" altLang="zh-CN" sz="16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3" name="Rectangle 3"/>
          <p:cNvSpPr>
            <a:spLocks/>
          </p:cNvSpPr>
          <p:nvPr/>
        </p:nvSpPr>
        <p:spPr bwMode="auto">
          <a:xfrm>
            <a:off x="4577464" y="1676802"/>
            <a:ext cx="3768090" cy="1840230"/>
          </a:xfrm>
          <a:prstGeom prst="rect">
            <a:avLst/>
          </a:prstGeom>
          <a:solidFill>
            <a:srgbClr val="E7B92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defTabSz="685478">
              <a:defRPr/>
            </a:pPr>
            <a:r>
              <a:rPr lang="zh-CN" alt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常见故障：</a:t>
            </a:r>
            <a:endParaRPr lang="en-US" altLang="zh-CN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无功率显示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无法进入工作界面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屏幕白板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示数错误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反射保护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4" name="Rectangle 2"/>
          <p:cNvSpPr>
            <a:spLocks noChangeAspect="1"/>
          </p:cNvSpPr>
          <p:nvPr/>
        </p:nvSpPr>
        <p:spPr bwMode="auto">
          <a:xfrm>
            <a:off x="4577464" y="3680417"/>
            <a:ext cx="3768090" cy="1840230"/>
          </a:xfrm>
          <a:prstGeom prst="rect">
            <a:avLst/>
          </a:prstGeom>
          <a:solidFill>
            <a:srgbClr val="3397D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defTabSz="685478">
              <a:defRPr/>
            </a:pPr>
            <a:r>
              <a:rPr lang="zh-CN" altLang="en-US" sz="28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一点硬件改进：</a:t>
            </a:r>
            <a:endParaRPr lang="en-US" altLang="zh-CN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增加反射保护自动重启功能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已在</a:t>
            </a:r>
            <a:r>
              <a:rPr lang="en-US" altLang="zh-CN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10#</a:t>
            </a: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投入使用，反馈良好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其他返修机加入此功能</a:t>
            </a: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  <a:p>
            <a:pPr defTabSz="685478">
              <a:defRPr/>
            </a:pPr>
            <a:r>
              <a:rPr lang="zh-CN" altLang="en-US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rPr>
              <a:t>目的：为运行人员减负</a:t>
            </a: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5" name="Rectangle 3"/>
          <p:cNvSpPr>
            <a:spLocks noChangeAspect="1"/>
          </p:cNvSpPr>
          <p:nvPr/>
        </p:nvSpPr>
        <p:spPr bwMode="auto">
          <a:xfrm>
            <a:off x="755576" y="3680417"/>
            <a:ext cx="3644724" cy="1840230"/>
          </a:xfrm>
          <a:prstGeom prst="rect">
            <a:avLst/>
          </a:prstGeom>
          <a:solidFill>
            <a:srgbClr val="E7B92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r" defTabSz="685478">
              <a:defRPr/>
            </a:pPr>
            <a:endParaRPr lang="en-US" altLang="zh-CN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</a:endParaRPr>
          </a:p>
        </p:txBody>
      </p:sp>
      <p:pic>
        <p:nvPicPr>
          <p:cNvPr id="26" name="图片 25" descr="IMG_5070.JPG"/>
          <p:cNvPicPr>
            <a:picLocks noChangeAspect="1"/>
          </p:cNvPicPr>
          <p:nvPr/>
        </p:nvPicPr>
        <p:blipFill>
          <a:blip r:embed="rId2"/>
          <a:srcRect l="5468" t="7288" b="12546"/>
          <a:stretch>
            <a:fillRect/>
          </a:stretch>
        </p:blipFill>
        <p:spPr>
          <a:xfrm>
            <a:off x="1907704" y="3862532"/>
            <a:ext cx="2320664" cy="1476000"/>
          </a:xfrm>
          <a:prstGeom prst="rect">
            <a:avLst/>
          </a:prstGeom>
          <a:ln w="38100" cap="sq">
            <a:solidFill>
              <a:srgbClr val="FCFCFC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736526" y="44624"/>
            <a:ext cx="4929563" cy="1477328"/>
            <a:chOff x="573021" y="1520994"/>
            <a:chExt cx="4929562" cy="1477328"/>
          </a:xfrm>
        </p:grpSpPr>
        <p:grpSp>
          <p:nvGrpSpPr>
            <p:cNvPr id="8" name="组合 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0" name="矩形 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矩形 1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功率采集与传输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899626" y="1556792"/>
            <a:ext cx="7315166" cy="3145409"/>
            <a:chOff x="1168035" y="1564271"/>
            <a:chExt cx="6818646" cy="2455005"/>
          </a:xfrm>
        </p:grpSpPr>
        <p:graphicFrame>
          <p:nvGraphicFramePr>
            <p:cNvPr id="2" name="Object 4">
              <a:hlinkClick r:id="" action="ppaction://ole?verb=0"/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09465505"/>
                </p:ext>
              </p:extLst>
            </p:nvPr>
          </p:nvGraphicFramePr>
          <p:xfrm>
            <a:off x="1168035" y="1564271"/>
            <a:ext cx="2947924" cy="2455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5" name="Rectangle 5"/>
            <p:cNvSpPr>
              <a:spLocks noChangeArrowheads="1"/>
            </p:cNvSpPr>
            <p:nvPr/>
          </p:nvSpPr>
          <p:spPr bwMode="auto">
            <a:xfrm>
              <a:off x="3980903" y="1981543"/>
              <a:ext cx="1277539" cy="2466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/>
            <a:p>
              <a:pPr algn="l" eaLnBrk="0" hangingPunct="0"/>
              <a:r>
                <a:rPr lang="zh-CN" altLang="en-US" sz="1600" dirty="0" smtClean="0"/>
                <a:t>故障报告次数</a:t>
              </a:r>
              <a:endParaRPr lang="en-US" altLang="zh-CN" sz="1600" dirty="0"/>
            </a:p>
          </p:txBody>
        </p:sp>
        <p:sp>
          <p:nvSpPr>
            <p:cNvPr id="16" name="Rectangle 6"/>
            <p:cNvSpPr>
              <a:spLocks noChangeArrowheads="1"/>
            </p:cNvSpPr>
            <p:nvPr/>
          </p:nvSpPr>
          <p:spPr bwMode="auto">
            <a:xfrm>
              <a:off x="4172160" y="2324443"/>
              <a:ext cx="895024" cy="2466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/>
            <a:p>
              <a:pPr algn="l" eaLnBrk="0" hangingPunct="0"/>
              <a:r>
                <a:rPr lang="zh-CN" altLang="en-US" sz="1600" dirty="0" smtClean="0"/>
                <a:t>故障台次</a:t>
              </a:r>
              <a:endParaRPr lang="en-US" altLang="zh-CN" sz="1600" dirty="0"/>
            </a:p>
          </p:txBody>
        </p:sp>
        <p:sp>
          <p:nvSpPr>
            <p:cNvPr id="17" name="Rectangle 7"/>
            <p:cNvSpPr>
              <a:spLocks noChangeArrowheads="1"/>
            </p:cNvSpPr>
            <p:nvPr/>
          </p:nvSpPr>
          <p:spPr bwMode="auto">
            <a:xfrm>
              <a:off x="4076530" y="2709095"/>
              <a:ext cx="1086282" cy="2466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/>
            <a:p>
              <a:pPr algn="l" eaLnBrk="0" hangingPunct="0"/>
              <a:r>
                <a:rPr lang="zh-CN" altLang="en-US" sz="1600" dirty="0" smtClean="0"/>
                <a:t>功率计更换</a:t>
              </a:r>
              <a:endParaRPr lang="en-US" altLang="zh-CN" sz="1600" dirty="0"/>
            </a:p>
          </p:txBody>
        </p:sp>
        <p:sp>
          <p:nvSpPr>
            <p:cNvPr id="18" name="Rectangle 8"/>
            <p:cNvSpPr>
              <a:spLocks noChangeArrowheads="1"/>
            </p:cNvSpPr>
            <p:nvPr/>
          </p:nvSpPr>
          <p:spPr bwMode="auto">
            <a:xfrm>
              <a:off x="4172159" y="3059036"/>
              <a:ext cx="895024" cy="2466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/>
            <a:p>
              <a:pPr algn="l" eaLnBrk="0" hangingPunct="0"/>
              <a:r>
                <a:rPr lang="zh-CN" altLang="en-US" sz="1600" dirty="0" smtClean="0"/>
                <a:t>返修次数</a:t>
              </a:r>
              <a:endParaRPr lang="en-US" altLang="zh-CN" sz="1600" dirty="0"/>
            </a:p>
          </p:txBody>
        </p:sp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4172159" y="3439609"/>
              <a:ext cx="895024" cy="24660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69056" tIns="34529" rIns="69056" bIns="34529">
              <a:spAutoFit/>
            </a:bodyPr>
            <a:lstStyle/>
            <a:p>
              <a:pPr algn="l" eaLnBrk="0" hangingPunct="0"/>
              <a:r>
                <a:rPr lang="zh-CN" altLang="en-US" sz="1600" dirty="0" smtClean="0"/>
                <a:t>返修台次</a:t>
              </a:r>
              <a:endParaRPr lang="en-US" altLang="zh-CN" sz="1600" dirty="0"/>
            </a:p>
          </p:txBody>
        </p:sp>
        <p:graphicFrame>
          <p:nvGraphicFramePr>
            <p:cNvPr id="21" name="Object 12">
              <a:hlinkClick r:id="" action="ppaction://ole?verb=0"/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613887200"/>
                </p:ext>
              </p:extLst>
            </p:nvPr>
          </p:nvGraphicFramePr>
          <p:xfrm>
            <a:off x="5038757" y="1564271"/>
            <a:ext cx="2947924" cy="24550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27" name="Rectangle 2"/>
          <p:cNvSpPr>
            <a:spLocks noChangeAspect="1"/>
          </p:cNvSpPr>
          <p:nvPr/>
        </p:nvSpPr>
        <p:spPr bwMode="auto">
          <a:xfrm>
            <a:off x="755575" y="4925058"/>
            <a:ext cx="3180795" cy="734056"/>
          </a:xfrm>
          <a:prstGeom prst="rect">
            <a:avLst/>
          </a:prstGeom>
          <a:solidFill>
            <a:srgbClr val="3397D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/>
            <a:r>
              <a:rPr lang="en-US" altLang="zh-CN" sz="2000" dirty="0">
                <a:solidFill>
                  <a:schemeClr val="tx1"/>
                </a:solidFill>
                <a:latin typeface="Arial" panose="020B0604020202020204" pitchFamily="34" charset="0"/>
              </a:rPr>
              <a:t>2012—2013</a:t>
            </a:r>
            <a:r>
              <a:rPr lang="zh-CN" altLang="en-US" sz="2000" dirty="0">
                <a:solidFill>
                  <a:schemeClr val="tx1"/>
                </a:solidFill>
                <a:latin typeface="Arial" panose="020B0604020202020204" pitchFamily="34" charset="0"/>
              </a:rPr>
              <a:t>运行年</a:t>
            </a:r>
            <a:endParaRPr lang="en-US" altLang="zh-CN" sz="20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/>
            <a:r>
              <a:rPr lang="zh-CN" altLang="en-US" sz="2000" dirty="0">
                <a:solidFill>
                  <a:schemeClr val="tx1"/>
                </a:solidFill>
                <a:latin typeface="Arial" panose="020B0604020202020204" pitchFamily="34" charset="0"/>
              </a:rPr>
              <a:t>功率采集与传输故障统计</a:t>
            </a:r>
            <a:endParaRPr lang="en-US" altLang="zh-CN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tangle 2"/>
          <p:cNvSpPr>
            <a:spLocks noChangeAspect="1"/>
          </p:cNvSpPr>
          <p:nvPr/>
        </p:nvSpPr>
        <p:spPr bwMode="auto">
          <a:xfrm>
            <a:off x="5251062" y="4920841"/>
            <a:ext cx="3180795" cy="734056"/>
          </a:xfrm>
          <a:prstGeom prst="rect">
            <a:avLst/>
          </a:prstGeom>
          <a:solidFill>
            <a:srgbClr val="ECC520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/>
            <a:r>
              <a:rPr lang="en-US" altLang="zh-CN" sz="2000" dirty="0" smtClean="0">
                <a:solidFill>
                  <a:schemeClr val="tx1"/>
                </a:solidFill>
                <a:latin typeface="Arial" panose="020B0604020202020204" pitchFamily="34" charset="0"/>
              </a:rPr>
              <a:t>2011—2012</a:t>
            </a:r>
            <a:r>
              <a:rPr lang="zh-CN" altLang="en-US" sz="2000" dirty="0" smtClean="0">
                <a:solidFill>
                  <a:schemeClr val="tx1"/>
                </a:solidFill>
                <a:latin typeface="Arial" panose="020B0604020202020204" pitchFamily="34" charset="0"/>
              </a:rPr>
              <a:t>运行</a:t>
            </a:r>
            <a:r>
              <a:rPr lang="zh-CN" altLang="en-US" sz="2000" dirty="0">
                <a:solidFill>
                  <a:schemeClr val="tx1"/>
                </a:solidFill>
                <a:latin typeface="Arial" panose="020B0604020202020204" pitchFamily="34" charset="0"/>
              </a:rPr>
              <a:t>年</a:t>
            </a:r>
            <a:endParaRPr lang="en-US" altLang="zh-CN" sz="20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algn="ctr"/>
            <a:r>
              <a:rPr lang="zh-CN" altLang="en-US" sz="2000" dirty="0">
                <a:solidFill>
                  <a:schemeClr val="tx1"/>
                </a:solidFill>
                <a:latin typeface="Arial" panose="020B0604020202020204" pitchFamily="34" charset="0"/>
              </a:rPr>
              <a:t>功率采集与传输故障统计</a:t>
            </a:r>
            <a:endParaRPr lang="en-US" altLang="zh-CN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tangle 2"/>
          <p:cNvSpPr>
            <a:spLocks noChangeAspect="1"/>
          </p:cNvSpPr>
          <p:nvPr/>
        </p:nvSpPr>
        <p:spPr bwMode="auto">
          <a:xfrm>
            <a:off x="752921" y="5792205"/>
            <a:ext cx="3180795" cy="734056"/>
          </a:xfrm>
          <a:prstGeom prst="rect">
            <a:avLst/>
          </a:prstGeom>
          <a:solidFill>
            <a:srgbClr val="3397D3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68568" tIns="34285" rIns="68568" bIns="34285" anchor="ctr"/>
          <a:lstStyle/>
          <a:p>
            <a:pPr algn="ctr"/>
            <a:r>
              <a:rPr lang="zh-CN" altLang="en-US" sz="3200" spc="600" dirty="0" smtClean="0">
                <a:solidFill>
                  <a:schemeClr val="tx1"/>
                </a:solidFill>
                <a:latin typeface="Arial" panose="020B0604020202020204" pitchFamily="34" charset="0"/>
              </a:rPr>
              <a:t>更加稳定</a:t>
            </a:r>
            <a:endParaRPr lang="en-US" altLang="zh-CN" sz="3200" spc="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70411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736526" y="44624"/>
            <a:ext cx="4929563" cy="1477328"/>
            <a:chOff x="573021" y="1520994"/>
            <a:chExt cx="4929562" cy="1477328"/>
          </a:xfrm>
        </p:grpSpPr>
        <p:grpSp>
          <p:nvGrpSpPr>
            <p:cNvPr id="8" name="组合 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10" name="矩形 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11" name="矩形 1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latin typeface="微软雅黑" pitchFamily="34" charset="-122"/>
                  <a:ea typeface="微软雅黑" pitchFamily="34" charset="-122"/>
                </a:rPr>
                <a:t>功率采集与传输</a:t>
              </a:r>
              <a:endParaRPr lang="zh-CN" altLang="en-US" sz="3200" b="1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pic>
        <p:nvPicPr>
          <p:cNvPr id="16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13" y="1484313"/>
            <a:ext cx="3205162" cy="4464050"/>
          </a:xfrm>
          <a:prstGeom prst="rect">
            <a:avLst/>
          </a:prstGeom>
          <a:solidFill>
            <a:srgbClr val="5CB1FE"/>
          </a:solidFill>
          <a:ln w="57150" cap="sq">
            <a:solidFill>
              <a:srgbClr val="5CB1FE"/>
            </a:solidFill>
            <a:miter lim="800000"/>
            <a:headEnd/>
            <a:tailEnd/>
          </a:ln>
        </p:spPr>
      </p:pic>
      <p:pic>
        <p:nvPicPr>
          <p:cNvPr id="17" name="图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9750" y="2403475"/>
            <a:ext cx="4241800" cy="2914650"/>
          </a:xfrm>
          <a:prstGeom prst="rect">
            <a:avLst/>
          </a:prstGeom>
          <a:noFill/>
          <a:ln w="57150" cap="sq">
            <a:solidFill>
              <a:srgbClr val="A8D02A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20"/>
          <p:cNvSpPr>
            <a:spLocks noChangeArrowheads="1"/>
          </p:cNvSpPr>
          <p:nvPr/>
        </p:nvSpPr>
        <p:spPr bwMode="auto">
          <a:xfrm>
            <a:off x="4292600" y="5323621"/>
            <a:ext cx="4364038" cy="485775"/>
          </a:xfrm>
          <a:prstGeom prst="rect">
            <a:avLst/>
          </a:prstGeom>
          <a:solidFill>
            <a:srgbClr val="A8D02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功率计更换统计</a:t>
            </a:r>
            <a:endParaRPr lang="en-US" altLang="zh-CN" sz="1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9" name="Rectangle 20"/>
          <p:cNvSpPr>
            <a:spLocks noChangeArrowheads="1"/>
          </p:cNvSpPr>
          <p:nvPr/>
        </p:nvSpPr>
        <p:spPr bwMode="auto">
          <a:xfrm>
            <a:off x="630238" y="5969000"/>
            <a:ext cx="3319462" cy="4841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功率采集与传输系统</a:t>
            </a:r>
            <a:endParaRPr lang="en-US" altLang="zh-CN" sz="1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 algn="ctr">
              <a:defRPr/>
            </a:pPr>
            <a:r>
              <a:rPr lang="zh-CN" altLang="en-US" sz="16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运行维护总结</a:t>
            </a:r>
            <a:endParaRPr lang="en-US" altLang="zh-CN" sz="16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19852380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86322" y="1412776"/>
            <a:ext cx="4640390" cy="1631216"/>
            <a:chOff x="573022" y="1484782"/>
            <a:chExt cx="4640389" cy="1631216"/>
          </a:xfrm>
        </p:grpSpPr>
        <p:grpSp>
          <p:nvGrpSpPr>
            <p:cNvPr id="3" name="组合 2"/>
            <p:cNvGrpSpPr/>
            <p:nvPr/>
          </p:nvGrpSpPr>
          <p:grpSpPr>
            <a:xfrm>
              <a:off x="573022" y="1484782"/>
              <a:ext cx="965145" cy="1631216"/>
              <a:chOff x="332656" y="1631664"/>
              <a:chExt cx="1223863" cy="2143348"/>
            </a:xfrm>
          </p:grpSpPr>
          <p:sp>
            <p:nvSpPr>
              <p:cNvPr id="5" name="矩形 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6" name="矩形 5"/>
              <p:cNvSpPr/>
              <p:nvPr/>
            </p:nvSpPr>
            <p:spPr>
              <a:xfrm>
                <a:off x="417796" y="1631664"/>
                <a:ext cx="1138723" cy="2143348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10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1</a:t>
                </a:r>
                <a:endParaRPr lang="zh-CN" altLang="en-US" sz="10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" name="TextBox 14"/>
            <p:cNvSpPr txBox="1"/>
            <p:nvPr/>
          </p:nvSpPr>
          <p:spPr>
            <a:xfrm>
              <a:off x="1424810" y="1908119"/>
              <a:ext cx="3788601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微波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组运行</a:t>
              </a:r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总揽</a:t>
              </a:r>
              <a:endParaRPr lang="en-US" altLang="zh-CN" sz="3200" dirty="0" smtClean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27" name="组合 26"/>
          <p:cNvGrpSpPr/>
          <p:nvPr/>
        </p:nvGrpSpPr>
        <p:grpSpPr>
          <a:xfrm>
            <a:off x="5004048" y="1425164"/>
            <a:ext cx="4929563" cy="1477328"/>
            <a:chOff x="573021" y="1520994"/>
            <a:chExt cx="4929562" cy="1477328"/>
          </a:xfrm>
        </p:grpSpPr>
        <p:grpSp>
          <p:nvGrpSpPr>
            <p:cNvPr id="28" name="组合 2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0" name="矩形 2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1" name="矩形 3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2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9" name="TextBox 14"/>
            <p:cNvSpPr txBox="1"/>
            <p:nvPr/>
          </p:nvSpPr>
          <p:spPr>
            <a:xfrm>
              <a:off x="1424809" y="1931943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功率采集与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传输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482402" y="3219997"/>
            <a:ext cx="4928295" cy="1477328"/>
            <a:chOff x="573021" y="1520994"/>
            <a:chExt cx="4928294" cy="1477328"/>
          </a:xfrm>
        </p:grpSpPr>
        <p:grpSp>
          <p:nvGrpSpPr>
            <p:cNvPr id="33" name="组合 32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35" name="矩形 3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36" name="矩形 35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4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 smtClean="0">
                  <a:solidFill>
                    <a:srgbClr val="ECC520"/>
                  </a:solidFill>
                  <a:latin typeface="微软雅黑" pitchFamily="34" charset="-122"/>
                  <a:ea typeface="微软雅黑" pitchFamily="34" charset="-122"/>
                </a:rPr>
                <a:t>相控系统</a:t>
              </a:r>
              <a:endParaRPr lang="zh-CN" altLang="en-US" sz="3200" b="1" dirty="0">
                <a:solidFill>
                  <a:srgbClr val="ECC520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5004048" y="3137392"/>
            <a:ext cx="4929563" cy="1477328"/>
            <a:chOff x="573021" y="1520994"/>
            <a:chExt cx="4929562" cy="1477328"/>
          </a:xfrm>
        </p:grpSpPr>
        <p:grpSp>
          <p:nvGrpSpPr>
            <p:cNvPr id="38" name="组合 37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40" name="矩形 39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4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39" name="TextBox 14"/>
            <p:cNvSpPr txBox="1"/>
            <p:nvPr/>
          </p:nvSpPr>
          <p:spPr>
            <a:xfrm>
              <a:off x="1424809" y="1947907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波导</a:t>
              </a:r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系统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490811" y="4922844"/>
            <a:ext cx="4929563" cy="1477328"/>
            <a:chOff x="573021" y="1552777"/>
            <a:chExt cx="4929562" cy="1477328"/>
          </a:xfrm>
        </p:grpSpPr>
        <p:grpSp>
          <p:nvGrpSpPr>
            <p:cNvPr id="43" name="组合 4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45" name="矩形 4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46" name="矩形 4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5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4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>
                  <a:latin typeface="微软雅黑" pitchFamily="34" charset="-122"/>
                  <a:ea typeface="微软雅黑" pitchFamily="34" charset="-122"/>
                </a:rPr>
                <a:t>暑期检修</a:t>
              </a:r>
            </a:p>
          </p:txBody>
        </p:sp>
      </p:grpSp>
      <p:grpSp>
        <p:nvGrpSpPr>
          <p:cNvPr id="52" name="组合 51"/>
          <p:cNvGrpSpPr/>
          <p:nvPr/>
        </p:nvGrpSpPr>
        <p:grpSpPr>
          <a:xfrm>
            <a:off x="5004048" y="4770747"/>
            <a:ext cx="4929563" cy="1477328"/>
            <a:chOff x="573021" y="1552777"/>
            <a:chExt cx="4929562" cy="1477328"/>
          </a:xfrm>
        </p:grpSpPr>
        <p:grpSp>
          <p:nvGrpSpPr>
            <p:cNvPr id="53" name="组合 52"/>
            <p:cNvGrpSpPr/>
            <p:nvPr/>
          </p:nvGrpSpPr>
          <p:grpSpPr>
            <a:xfrm>
              <a:off x="573021" y="1552777"/>
              <a:ext cx="890840" cy="1477328"/>
              <a:chOff x="332656" y="1721006"/>
              <a:chExt cx="1129640" cy="1941146"/>
            </a:xfrm>
          </p:grpSpPr>
          <p:sp>
            <p:nvSpPr>
              <p:cNvPr id="55" name="矩形 54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56" name="矩形 55"/>
              <p:cNvSpPr/>
              <p:nvPr/>
            </p:nvSpPr>
            <p:spPr>
              <a:xfrm>
                <a:off x="415046" y="1721006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6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54" name="TextBox 14"/>
            <p:cNvSpPr txBox="1"/>
            <p:nvPr/>
          </p:nvSpPr>
          <p:spPr>
            <a:xfrm>
              <a:off x="1424809" y="1941274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dirty="0" smtClean="0">
                  <a:latin typeface="微软雅黑" pitchFamily="34" charset="-122"/>
                  <a:ea typeface="微软雅黑" pitchFamily="34" charset="-122"/>
                </a:rPr>
                <a:t>其他方面</a:t>
              </a:r>
              <a:endParaRPr lang="zh-CN" altLang="en-US" sz="3200" dirty="0"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9019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/>
          <p:nvPr/>
        </p:nvSpPr>
        <p:spPr bwMode="auto">
          <a:xfrm>
            <a:off x="709944" y="1425719"/>
            <a:ext cx="879753" cy="4664865"/>
          </a:xfrm>
          <a:prstGeom prst="rect">
            <a:avLst/>
          </a:prstGeom>
          <a:solidFill>
            <a:srgbClr val="A8D02A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82880" tIns="182880" bIns="45719" anchor="ctr"/>
          <a:lstStyle/>
          <a:p>
            <a:pPr algn="ctr">
              <a:buSzPct val="90000"/>
              <a:defRPr/>
            </a:pPr>
            <a:r>
              <a:rPr lang="zh-CN" altLang="en-US" sz="40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相控系统</a:t>
            </a:r>
            <a:endParaRPr lang="en-US" sz="40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2531" name="Rectangle 20"/>
          <p:cNvSpPr>
            <a:spLocks noChangeArrowheads="1"/>
          </p:cNvSpPr>
          <p:nvPr/>
        </p:nvSpPr>
        <p:spPr bwMode="auto">
          <a:xfrm>
            <a:off x="1808163" y="2292350"/>
            <a:ext cx="2657475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I</a:t>
            </a:r>
            <a:r>
              <a:rPr lang="zh-CN" altLang="zh-CN" sz="2400">
                <a:solidFill>
                  <a:srgbClr val="FFFEF4"/>
                </a:solidFill>
                <a:ea typeface="宋体" panose="02010600030101010101" pitchFamily="2" charset="-122"/>
              </a:rPr>
              <a:t>Φ</a:t>
            </a:r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A</a:t>
            </a:r>
          </a:p>
        </p:txBody>
      </p:sp>
      <p:sp>
        <p:nvSpPr>
          <p:cNvPr id="4" name="Rectangle 22"/>
          <p:cNvSpPr/>
          <p:nvPr/>
        </p:nvSpPr>
        <p:spPr bwMode="auto">
          <a:xfrm>
            <a:off x="1809731" y="1447440"/>
            <a:ext cx="2655149" cy="63882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/>
          <a:p>
            <a:pPr>
              <a:defRPr/>
            </a:pPr>
            <a:r>
              <a:rPr lang="zh-CN" altLang="en-US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关键部件</a:t>
            </a:r>
            <a:endParaRPr lang="en-US" altLang="zh-CN" sz="2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5" name="Rectangle 20"/>
          <p:cNvSpPr/>
          <p:nvPr/>
        </p:nvSpPr>
        <p:spPr bwMode="auto">
          <a:xfrm>
            <a:off x="7554082" y="1435807"/>
            <a:ext cx="943246" cy="4664865"/>
          </a:xfrm>
          <a:prstGeom prst="rect">
            <a:avLst/>
          </a:prstGeom>
          <a:solidFill>
            <a:srgbClr val="FF754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vert="eaVert" lIns="137143" tIns="68571" rIns="68571" bIns="68571" anchor="ctr"/>
          <a:lstStyle/>
          <a:p>
            <a:pPr>
              <a:defRPr/>
            </a:pPr>
            <a:r>
              <a:rPr lang="en-US" altLang="zh-CN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《</a:t>
            </a:r>
            <a:r>
              <a:rPr lang="zh-CN" altLang="en-US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相控系统运行总结</a:t>
            </a:r>
            <a:r>
              <a:rPr lang="en-US" altLang="zh-CN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》</a:t>
            </a:r>
            <a:r>
              <a:rPr lang="zh-CN" altLang="en-US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增</a:t>
            </a:r>
            <a:endParaRPr lang="en-US" altLang="zh-CN" sz="2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7" name="Rectangle 22"/>
          <p:cNvSpPr/>
          <p:nvPr/>
        </p:nvSpPr>
        <p:spPr bwMode="auto">
          <a:xfrm>
            <a:off x="4680904" y="1448720"/>
            <a:ext cx="2655149" cy="63754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lIns="137143" tIns="68571" rIns="68571" bIns="68571" anchor="ctr"/>
          <a:lstStyle/>
          <a:p>
            <a:pPr>
              <a:defRPr/>
            </a:pPr>
            <a:r>
              <a:rPr lang="zh-CN" altLang="en-US" sz="2400" dirty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故障数</a:t>
            </a:r>
            <a:endParaRPr lang="en-US" altLang="zh-CN" sz="2400" dirty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2535" name="Rectangle 20"/>
          <p:cNvSpPr>
            <a:spLocks noChangeArrowheads="1"/>
          </p:cNvSpPr>
          <p:nvPr/>
        </p:nvSpPr>
        <p:spPr bwMode="auto">
          <a:xfrm>
            <a:off x="1808163" y="3094038"/>
            <a:ext cx="2657475" cy="623887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PAD</a:t>
            </a: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1808163" y="3884613"/>
            <a:ext cx="2657475" cy="623887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altLang="en-US" sz="20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软件、工控机、</a:t>
            </a:r>
            <a:endParaRPr lang="en-US" altLang="zh-CN" sz="20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>
              <a:defRPr/>
            </a:pPr>
            <a:r>
              <a:rPr lang="en-US" altLang="zh-CN" sz="20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KPCI</a:t>
            </a:r>
            <a:r>
              <a:rPr lang="zh-CN" altLang="en-US" sz="20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卡</a:t>
            </a:r>
            <a:endParaRPr lang="en-US" altLang="zh-CN" sz="20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0" name="Rectangle 20"/>
          <p:cNvSpPr>
            <a:spLocks noChangeArrowheads="1"/>
          </p:cNvSpPr>
          <p:nvPr/>
        </p:nvSpPr>
        <p:spPr bwMode="auto">
          <a:xfrm>
            <a:off x="1808163" y="4681538"/>
            <a:ext cx="2657475" cy="623887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总相</a:t>
            </a:r>
            <a:endParaRPr lang="en-US" altLang="zh-CN" sz="2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11" name="Rectangle 20"/>
          <p:cNvSpPr>
            <a:spLocks noChangeArrowheads="1"/>
          </p:cNvSpPr>
          <p:nvPr/>
        </p:nvSpPr>
        <p:spPr bwMode="auto">
          <a:xfrm>
            <a:off x="1808163" y="5476875"/>
            <a:ext cx="2657475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恒温箱</a:t>
            </a:r>
            <a:endParaRPr lang="en-US" altLang="zh-CN" sz="2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</p:txBody>
      </p:sp>
      <p:sp>
        <p:nvSpPr>
          <p:cNvPr id="22539" name="Rectangle 20"/>
          <p:cNvSpPr>
            <a:spLocks noChangeArrowheads="1"/>
          </p:cNvSpPr>
          <p:nvPr/>
        </p:nvSpPr>
        <p:spPr bwMode="auto">
          <a:xfrm>
            <a:off x="4681538" y="2282825"/>
            <a:ext cx="2655887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dirty="0">
                <a:solidFill>
                  <a:srgbClr val="FFFEF4"/>
                </a:solidFill>
                <a:ea typeface="宋体" panose="02010600030101010101" pitchFamily="2" charset="-122"/>
              </a:rPr>
              <a:t>2</a:t>
            </a:r>
          </a:p>
        </p:txBody>
      </p:sp>
      <p:sp>
        <p:nvSpPr>
          <p:cNvPr id="22540" name="Rectangle 20"/>
          <p:cNvSpPr>
            <a:spLocks noChangeArrowheads="1"/>
          </p:cNvSpPr>
          <p:nvPr/>
        </p:nvSpPr>
        <p:spPr bwMode="auto">
          <a:xfrm>
            <a:off x="4681538" y="3082925"/>
            <a:ext cx="2655887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1</a:t>
            </a:r>
          </a:p>
        </p:txBody>
      </p:sp>
      <p:sp>
        <p:nvSpPr>
          <p:cNvPr id="22541" name="Rectangle 20"/>
          <p:cNvSpPr>
            <a:spLocks noChangeArrowheads="1"/>
          </p:cNvSpPr>
          <p:nvPr/>
        </p:nvSpPr>
        <p:spPr bwMode="auto">
          <a:xfrm>
            <a:off x="4681538" y="3875088"/>
            <a:ext cx="2655887" cy="623887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10</a:t>
            </a:r>
          </a:p>
        </p:txBody>
      </p:sp>
      <p:sp>
        <p:nvSpPr>
          <p:cNvPr id="22542" name="Rectangle 20"/>
          <p:cNvSpPr>
            <a:spLocks noChangeArrowheads="1"/>
          </p:cNvSpPr>
          <p:nvPr/>
        </p:nvSpPr>
        <p:spPr bwMode="auto">
          <a:xfrm>
            <a:off x="4681538" y="4670425"/>
            <a:ext cx="2655887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>
                <a:solidFill>
                  <a:srgbClr val="FFFEF4"/>
                </a:solidFill>
                <a:ea typeface="宋体" panose="02010600030101010101" pitchFamily="2" charset="-122"/>
              </a:rPr>
              <a:t>1</a:t>
            </a:r>
          </a:p>
        </p:txBody>
      </p:sp>
      <p:sp>
        <p:nvSpPr>
          <p:cNvPr id="22543" name="Rectangle 20"/>
          <p:cNvSpPr>
            <a:spLocks noChangeArrowheads="1"/>
          </p:cNvSpPr>
          <p:nvPr/>
        </p:nvSpPr>
        <p:spPr bwMode="auto">
          <a:xfrm>
            <a:off x="4681538" y="5467350"/>
            <a:ext cx="2655887" cy="623888"/>
          </a:xfrm>
          <a:prstGeom prst="rect">
            <a:avLst/>
          </a:prstGeom>
          <a:solidFill>
            <a:srgbClr val="5CB1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7143" tIns="68571" rIns="68571" bIns="68571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zh-CN" sz="2400" dirty="0" smtClean="0">
                <a:solidFill>
                  <a:srgbClr val="FFFEF4"/>
                </a:solidFill>
                <a:ea typeface="宋体" panose="02010600030101010101" pitchFamily="2" charset="-122"/>
              </a:rPr>
              <a:t>12</a:t>
            </a:r>
            <a:endParaRPr lang="en-US" altLang="zh-CN" sz="2400" dirty="0">
              <a:solidFill>
                <a:srgbClr val="FFFEF4"/>
              </a:solidFill>
              <a:ea typeface="宋体" panose="02010600030101010101" pitchFamily="2" charset="-122"/>
            </a:endParaRPr>
          </a:p>
        </p:txBody>
      </p:sp>
      <p:sp>
        <p:nvSpPr>
          <p:cNvPr id="17" name="文本框 2"/>
          <p:cNvSpPr txBox="1">
            <a:spLocks noChangeArrowheads="1"/>
          </p:cNvSpPr>
          <p:nvPr/>
        </p:nvSpPr>
        <p:spPr bwMode="auto">
          <a:xfrm>
            <a:off x="7560270" y="4994275"/>
            <a:ext cx="923330" cy="113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zh-CN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58</a:t>
            </a: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项</a:t>
            </a:r>
            <a:endParaRPr lang="en-US" altLang="zh-CN" sz="2400" dirty="0" smtClean="0">
              <a:gradFill>
                <a:gsLst>
                  <a:gs pos="85000">
                    <a:srgbClr val="FFFFFF"/>
                  </a:gs>
                  <a:gs pos="0">
                    <a:srgbClr val="FFFFFF"/>
                  </a:gs>
                </a:gsLst>
                <a:lin ang="5400000" scaled="0"/>
              </a:gradFill>
            </a:endParaRPr>
          </a:p>
          <a:p>
            <a:pPr>
              <a:defRPr/>
            </a:pPr>
            <a:r>
              <a:rPr lang="en-US" altLang="zh-CN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8208</a:t>
            </a:r>
            <a:r>
              <a:rPr lang="zh-CN" altLang="en-US" sz="2400" dirty="0" smtClean="0">
                <a:gradFill>
                  <a:gsLst>
                    <a:gs pos="85000">
                      <a:srgbClr val="FFFFFF"/>
                    </a:gs>
                    <a:gs pos="0">
                      <a:srgbClr val="FFFFFF"/>
                    </a:gs>
                  </a:gsLst>
                  <a:lin ang="5400000" scaled="0"/>
                </a:gradFill>
              </a:rPr>
              <a:t>字</a:t>
            </a:r>
          </a:p>
        </p:txBody>
      </p:sp>
      <p:grpSp>
        <p:nvGrpSpPr>
          <p:cNvPr id="19" name="组合 18"/>
          <p:cNvGrpSpPr/>
          <p:nvPr/>
        </p:nvGrpSpPr>
        <p:grpSpPr>
          <a:xfrm>
            <a:off x="740718" y="44624"/>
            <a:ext cx="4928295" cy="1477328"/>
            <a:chOff x="573021" y="1520994"/>
            <a:chExt cx="4928294" cy="1477328"/>
          </a:xfrm>
        </p:grpSpPr>
        <p:grpSp>
          <p:nvGrpSpPr>
            <p:cNvPr id="20" name="组合 19"/>
            <p:cNvGrpSpPr/>
            <p:nvPr/>
          </p:nvGrpSpPr>
          <p:grpSpPr>
            <a:xfrm>
              <a:off x="573021" y="1520994"/>
              <a:ext cx="881787" cy="1477328"/>
              <a:chOff x="332656" y="1679244"/>
              <a:chExt cx="1118160" cy="1941146"/>
            </a:xfrm>
          </p:grpSpPr>
          <p:sp>
            <p:nvSpPr>
              <p:cNvPr id="22" name="矩形 21"/>
              <p:cNvSpPr>
                <a:spLocks noChangeAspect="1"/>
              </p:cNvSpPr>
              <p:nvPr/>
            </p:nvSpPr>
            <p:spPr>
              <a:xfrm>
                <a:off x="332656" y="2179765"/>
                <a:ext cx="867354" cy="867354"/>
              </a:xfrm>
              <a:prstGeom prst="rect">
                <a:avLst/>
              </a:prstGeom>
              <a:solidFill>
                <a:srgbClr val="ECC520"/>
              </a:solidFill>
              <a:ln>
                <a:solidFill>
                  <a:srgbClr val="ECC52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  <p:sp>
            <p:nvSpPr>
              <p:cNvPr id="23" name="矩形 22"/>
              <p:cNvSpPr/>
              <p:nvPr/>
            </p:nvSpPr>
            <p:spPr>
              <a:xfrm>
                <a:off x="403566" y="1679244"/>
                <a:ext cx="1047250" cy="1941146"/>
              </a:xfrm>
              <a:prstGeom prst="rect">
                <a:avLst/>
              </a:prstGeom>
              <a:noFill/>
            </p:spPr>
            <p:txBody>
              <a:bodyPr wrap="none" lIns="91440" tIns="45720" rIns="91440" bIns="45720">
                <a:spAutoFit/>
              </a:bodyPr>
              <a:lstStyle/>
              <a:p>
                <a:pPr algn="ctr"/>
                <a:r>
                  <a:rPr lang="en-US" altLang="zh-CN" sz="9000" b="0" cap="none" spc="0" dirty="0" smtClean="0">
                    <a:ln w="18415" cmpd="sng">
                      <a:noFill/>
                      <a:prstDash val="solid"/>
                    </a:ln>
                    <a:solidFill>
                      <a:srgbClr val="1D4C7C"/>
                    </a:solidFill>
                    <a:latin typeface="Segoe WP" pitchFamily="34" charset="0"/>
                  </a:rPr>
                  <a:t>3</a:t>
                </a:r>
                <a:endParaRPr lang="zh-CN" altLang="en-US" sz="9000" b="0" cap="none" spc="0" dirty="0">
                  <a:ln w="18415" cmpd="sng">
                    <a:noFill/>
                    <a:prstDash val="solid"/>
                  </a:ln>
                  <a:solidFill>
                    <a:srgbClr val="1D4C7C"/>
                  </a:solidFill>
                  <a:latin typeface="Segoe WP" pitchFamily="34" charset="0"/>
                </a:endParaRPr>
              </a:p>
            </p:txBody>
          </p:sp>
        </p:grpSp>
        <p:sp>
          <p:nvSpPr>
            <p:cNvPr id="21" name="TextBox 14"/>
            <p:cNvSpPr txBox="1"/>
            <p:nvPr/>
          </p:nvSpPr>
          <p:spPr>
            <a:xfrm>
              <a:off x="1423541" y="1937310"/>
              <a:ext cx="407777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sz="3200" b="1" dirty="0">
                  <a:latin typeface="微软雅黑" pitchFamily="34" charset="-122"/>
                  <a:ea typeface="微软雅黑" pitchFamily="34" charset="-122"/>
                </a:rPr>
                <a:t>相控系统</a:t>
              </a: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4.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heme/theme1.xml><?xml version="1.0" encoding="utf-8"?>
<a:theme xmlns:a="http://schemas.openxmlformats.org/drawingml/2006/main" name="TechEd_2012_Template_16x9">
  <a:themeElements>
    <a:clrScheme name="自定义 22">
      <a:dk1>
        <a:srgbClr val="363535"/>
      </a:dk1>
      <a:lt1>
        <a:srgbClr val="FFFFFF"/>
      </a:lt1>
      <a:dk2>
        <a:srgbClr val="1D4C7C"/>
      </a:dk2>
      <a:lt2>
        <a:srgbClr val="3397D3"/>
      </a:lt2>
      <a:accent1>
        <a:srgbClr val="3397D3"/>
      </a:accent1>
      <a:accent2>
        <a:srgbClr val="8E499C"/>
      </a:accent2>
      <a:accent3>
        <a:srgbClr val="ED5326"/>
      </a:accent3>
      <a:accent4>
        <a:srgbClr val="3BBEB4"/>
      </a:accent4>
      <a:accent5>
        <a:srgbClr val="94C949"/>
      </a:accent5>
      <a:accent6>
        <a:srgbClr val="E7B921"/>
      </a:accent6>
      <a:hlink>
        <a:srgbClr val="FFFFFF"/>
      </a:hlink>
      <a:folHlink>
        <a:srgbClr val="FFFFFF"/>
      </a:folHlink>
    </a:clrScheme>
    <a:fontScheme name="Segoe UI -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200" dirty="0" smtClean="0">
            <a:solidFill>
              <a:srgbClr val="FFFFFF">
                <a:alpha val="98824"/>
              </a:srgbClr>
            </a:solidFill>
            <a:latin typeface="Segoe UI" pitchFamily="34" charset="0"/>
            <a:ea typeface="Segoe UI" pitchFamily="34" charset="0"/>
            <a:cs typeface="Segoe UI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91440" tIns="91440" rIns="91440" bIns="91440" rtlCol="0">
        <a:spAutoFit/>
      </a:bodyPr>
      <a:lstStyle>
        <a:defPPr>
          <a:lnSpc>
            <a:spcPct val="90000"/>
          </a:lnSpc>
          <a:spcBef>
            <a:spcPct val="20000"/>
          </a:spcBef>
          <a:buSzPct val="90000"/>
          <a:defRPr sz="3200" dirty="0" err="1" smtClean="0">
            <a:solidFill>
              <a:schemeClr val="tx1">
                <a:alpha val="99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自訂設計">
  <a:themeElements>
    <a:clrScheme name="自訂設計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自訂設計">
      <a:majorFont>
        <a:latin typeface="Arial"/>
        <a:ea typeface="新細明體"/>
        <a:cs typeface=""/>
      </a:majorFont>
      <a:minorFont>
        <a:latin typeface="Arial"/>
        <a:ea typeface="新細明體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pitchFamily="18" charset="-12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zh-TW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新細明體" pitchFamily="18" charset="-120"/>
          </a:defRPr>
        </a:defPPr>
      </a:lstStyle>
    </a:lnDef>
  </a:objectDefaults>
  <a:extraClrSchemeLst>
    <a:extraClrScheme>
      <a:clrScheme name="自訂設計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自訂設計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自訂設計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580TGp_general_light_ani</Template>
  <TotalTime>9856</TotalTime>
  <Words>890</Words>
  <Application>Microsoft Office PowerPoint</Application>
  <PresentationFormat>全屏显示(4:3)</PresentationFormat>
  <Paragraphs>264</Paragraphs>
  <Slides>22</Slides>
  <Notes>2</Notes>
  <HiddenSlides>0</HiddenSlides>
  <MMClips>0</MMClips>
  <ScaleCrop>false</ScaleCrop>
  <HeadingPairs>
    <vt:vector size="6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2</vt:i4>
      </vt:variant>
    </vt:vector>
  </HeadingPairs>
  <TitlesOfParts>
    <vt:vector size="38" baseType="lpstr">
      <vt:lpstr>PMingLiU</vt:lpstr>
      <vt:lpstr>PMingLiU</vt:lpstr>
      <vt:lpstr>Segoe</vt:lpstr>
      <vt:lpstr>Segoe WP</vt:lpstr>
      <vt:lpstr>黑体</vt:lpstr>
      <vt:lpstr>宋体</vt:lpstr>
      <vt:lpstr>微软雅黑</vt:lpstr>
      <vt:lpstr>Arial</vt:lpstr>
      <vt:lpstr>Arial Black</vt:lpstr>
      <vt:lpstr>Calibri</vt:lpstr>
      <vt:lpstr>Impact</vt:lpstr>
      <vt:lpstr>Segoe UI</vt:lpstr>
      <vt:lpstr>Segoe UI Light</vt:lpstr>
      <vt:lpstr>Times New Roman</vt:lpstr>
      <vt:lpstr>TechEd_2012_Template_16x9</vt:lpstr>
      <vt:lpstr>自訂設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微软中国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meGallery PowerTemplate</dc:title>
  <dc:creator>微软用户</dc:creator>
  <cp:lastModifiedBy>王湘鉴</cp:lastModifiedBy>
  <cp:revision>886</cp:revision>
  <dcterms:created xsi:type="dcterms:W3CDTF">2009-04-10T10:26:23Z</dcterms:created>
  <dcterms:modified xsi:type="dcterms:W3CDTF">2013-07-30T09:05:44Z</dcterms:modified>
</cp:coreProperties>
</file>